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13.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14.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16.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17.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18.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19.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2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21.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22.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23.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24.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27.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28.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29.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3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31.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32.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33.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34.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35.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36.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37.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38.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39.xml" ContentType="application/vnd.openxmlformats-officedocument.drawingml.chart+xml"/>
  <Override PartName="/ppt/theme/themeOverride1.xml" ContentType="application/vnd.openxmlformats-officedocument.themeOverride+xml"/>
  <Override PartName="/ppt/charts/chart40.xml" ContentType="application/vnd.openxmlformats-officedocument.drawingml.chart+xml"/>
  <Override PartName="/ppt/theme/themeOverride2.xml" ContentType="application/vnd.openxmlformats-officedocument.themeOverride+xml"/>
  <Override PartName="/ppt/charts/chart41.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42.xml" ContentType="application/vnd.openxmlformats-officedocument.drawingml.chart+xml"/>
  <Override PartName="/ppt/theme/themeOverride3.xml" ContentType="application/vnd.openxmlformats-officedocument.themeOverride+xml"/>
  <Override PartName="/ppt/charts/chart43.xml" ContentType="application/vnd.openxmlformats-officedocument.drawingml.chart+xml"/>
  <Override PartName="/ppt/theme/themeOverride4.xml" ContentType="application/vnd.openxmlformats-officedocument.themeOverride+xml"/>
  <Override PartName="/ppt/charts/chart44.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45.xml" ContentType="application/vnd.openxmlformats-officedocument.drawingml.chart+xml"/>
  <Override PartName="/ppt/theme/themeOverride5.xml" ContentType="application/vnd.openxmlformats-officedocument.themeOverride+xml"/>
  <Override PartName="/ppt/charts/chart46.xml" ContentType="application/vnd.openxmlformats-officedocument.drawingml.chart+xml"/>
  <Override PartName="/ppt/theme/themeOverride6.xml" ContentType="application/vnd.openxmlformats-officedocument.themeOverride+xml"/>
  <Override PartName="/ppt/charts/chart47.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48.xml" ContentType="application/vnd.openxmlformats-officedocument.drawingml.chart+xml"/>
  <Override PartName="/ppt/theme/themeOverride7.xml" ContentType="application/vnd.openxmlformats-officedocument.themeOverride+xml"/>
  <Override PartName="/ppt/charts/chart49.xml" ContentType="application/vnd.openxmlformats-officedocument.drawingml.chart+xml"/>
  <Override PartName="/ppt/theme/themeOverride8.xml" ContentType="application/vnd.openxmlformats-officedocument.themeOverride+xml"/>
  <Override PartName="/ppt/charts/chart50.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51.xml" ContentType="application/vnd.openxmlformats-officedocument.drawingml.chart+xml"/>
  <Override PartName="/ppt/theme/themeOverride9.xml" ContentType="application/vnd.openxmlformats-officedocument.themeOverride+xml"/>
  <Override PartName="/ppt/charts/chart52.xml" ContentType="application/vnd.openxmlformats-officedocument.drawingml.chart+xml"/>
  <Override PartName="/ppt/theme/themeOverride10.xml" ContentType="application/vnd.openxmlformats-officedocument.themeOverride+xml"/>
  <Override PartName="/ppt/charts/chart53.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54.xml" ContentType="application/vnd.openxmlformats-officedocument.drawingml.chart+xml"/>
  <Override PartName="/ppt/theme/themeOverride11.xml" ContentType="application/vnd.openxmlformats-officedocument.themeOverride+xml"/>
  <Override PartName="/ppt/charts/chart55.xml" ContentType="application/vnd.openxmlformats-officedocument.drawingml.chart+xml"/>
  <Override PartName="/ppt/theme/themeOverride12.xml" ContentType="application/vnd.openxmlformats-officedocument.themeOverride+xml"/>
  <Override PartName="/ppt/charts/chart56.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57.xml" ContentType="application/vnd.openxmlformats-officedocument.drawingml.chart+xml"/>
  <Override PartName="/ppt/theme/themeOverride13.xml" ContentType="application/vnd.openxmlformats-officedocument.themeOverride+xml"/>
  <Override PartName="/ppt/charts/chart58.xml" ContentType="application/vnd.openxmlformats-officedocument.drawingml.chart+xml"/>
  <Override PartName="/ppt/theme/themeOverride14.xml" ContentType="application/vnd.openxmlformats-officedocument.themeOverride+xml"/>
  <Override PartName="/ppt/charts/chart59.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60.xml" ContentType="application/vnd.openxmlformats-officedocument.drawingml.chart+xml"/>
  <Override PartName="/ppt/theme/themeOverride15.xml" ContentType="application/vnd.openxmlformats-officedocument.themeOverride+xml"/>
  <Override PartName="/ppt/charts/chart61.xml" ContentType="application/vnd.openxmlformats-officedocument.drawingml.chart+xml"/>
  <Override PartName="/ppt/theme/themeOverride16.xml" ContentType="application/vnd.openxmlformats-officedocument.themeOverride+xml"/>
  <Override PartName="/ppt/charts/chart62.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63.xml" ContentType="application/vnd.openxmlformats-officedocument.drawingml.chart+xml"/>
  <Override PartName="/ppt/theme/themeOverride17.xml" ContentType="application/vnd.openxmlformats-officedocument.themeOverride+xml"/>
  <Override PartName="/ppt/charts/chart64.xml" ContentType="application/vnd.openxmlformats-officedocument.drawingml.chart+xml"/>
  <Override PartName="/ppt/theme/themeOverride18.xml" ContentType="application/vnd.openxmlformats-officedocument.themeOverride+xml"/>
  <Override PartName="/ppt/charts/chart65.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66.xml" ContentType="application/vnd.openxmlformats-officedocument.drawingml.chart+xml"/>
  <Override PartName="/ppt/theme/themeOverride19.xml" ContentType="application/vnd.openxmlformats-officedocument.themeOverride+xml"/>
  <Override PartName="/ppt/charts/chart67.xml" ContentType="application/vnd.openxmlformats-officedocument.drawingml.chart+xml"/>
  <Override PartName="/ppt/theme/themeOverride20.xml" ContentType="application/vnd.openxmlformats-officedocument.themeOverride+xml"/>
  <Override PartName="/ppt/charts/chart68.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69.xml" ContentType="application/vnd.openxmlformats-officedocument.drawingml.chart+xml"/>
  <Override PartName="/ppt/theme/themeOverride21.xml" ContentType="application/vnd.openxmlformats-officedocument.themeOverride+xml"/>
  <Override PartName="/ppt/charts/chart70.xml" ContentType="application/vnd.openxmlformats-officedocument.drawingml.chart+xml"/>
  <Override PartName="/ppt/theme/themeOverride22.xml" ContentType="application/vnd.openxmlformats-officedocument.themeOverride+xml"/>
  <Override PartName="/ppt/charts/chart71.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72.xml" ContentType="application/vnd.openxmlformats-officedocument.drawingml.chart+xml"/>
  <Override PartName="/ppt/theme/themeOverride23.xml" ContentType="application/vnd.openxmlformats-officedocument.themeOverride+xml"/>
  <Override PartName="/ppt/charts/chart73.xml" ContentType="application/vnd.openxmlformats-officedocument.drawingml.chart+xml"/>
  <Override PartName="/ppt/theme/themeOverride24.xml" ContentType="application/vnd.openxmlformats-officedocument.themeOverride+xml"/>
  <Override PartName="/ppt/charts/chart74.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75.xml" ContentType="application/vnd.openxmlformats-officedocument.drawingml.chart+xml"/>
  <Override PartName="/ppt/theme/themeOverride25.xml" ContentType="application/vnd.openxmlformats-officedocument.themeOverride+xml"/>
  <Override PartName="/ppt/charts/chart76.xml" ContentType="application/vnd.openxmlformats-officedocument.drawingml.chart+xml"/>
  <Override PartName="/ppt/theme/themeOverride26.xml" ContentType="application/vnd.openxmlformats-officedocument.themeOverride+xml"/>
  <Override PartName="/ppt/charts/chart77.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78.xml" ContentType="application/vnd.openxmlformats-officedocument.drawingml.chart+xml"/>
  <Override PartName="/ppt/theme/themeOverride27.xml" ContentType="application/vnd.openxmlformats-officedocument.themeOverride+xml"/>
  <Override PartName="/ppt/charts/chart79.xml" ContentType="application/vnd.openxmlformats-officedocument.drawingml.chart+xml"/>
  <Override PartName="/ppt/theme/themeOverride28.xml" ContentType="application/vnd.openxmlformats-officedocument.themeOverride+xml"/>
  <Override PartName="/ppt/charts/chart80.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81.xml" ContentType="application/vnd.openxmlformats-officedocument.drawingml.chart+xml"/>
  <Override PartName="/ppt/theme/themeOverride29.xml" ContentType="application/vnd.openxmlformats-officedocument.themeOverride+xml"/>
  <Override PartName="/ppt/charts/chart82.xml" ContentType="application/vnd.openxmlformats-officedocument.drawingml.chart+xml"/>
  <Override PartName="/ppt/theme/themeOverride30.xml" ContentType="application/vnd.openxmlformats-officedocument.themeOverride+xml"/>
  <Override PartName="/ppt/charts/chart83.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84.xml" ContentType="application/vnd.openxmlformats-officedocument.drawingml.chart+xml"/>
  <Override PartName="/ppt/theme/themeOverride31.xml" ContentType="application/vnd.openxmlformats-officedocument.themeOverride+xml"/>
  <Override PartName="/ppt/charts/chart85.xml" ContentType="application/vnd.openxmlformats-officedocument.drawingml.chart+xml"/>
  <Override PartName="/ppt/theme/themeOverride32.xml" ContentType="application/vnd.openxmlformats-officedocument.themeOverride+xml"/>
  <Override PartName="/ppt/charts/chart86.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87.xml" ContentType="application/vnd.openxmlformats-officedocument.drawingml.chart+xml"/>
  <Override PartName="/ppt/theme/themeOverride33.xml" ContentType="application/vnd.openxmlformats-officedocument.themeOverride+xml"/>
  <Override PartName="/ppt/charts/chart88.xml" ContentType="application/vnd.openxmlformats-officedocument.drawingml.chart+xml"/>
  <Override PartName="/ppt/theme/themeOverride34.xml" ContentType="application/vnd.openxmlformats-officedocument.themeOverride+xml"/>
  <Override PartName="/ppt/charts/chart89.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90.xml" ContentType="application/vnd.openxmlformats-officedocument.drawingml.chart+xml"/>
  <Override PartName="/ppt/theme/themeOverride35.xml" ContentType="application/vnd.openxmlformats-officedocument.themeOverride+xml"/>
  <Override PartName="/ppt/charts/chart91.xml" ContentType="application/vnd.openxmlformats-officedocument.drawingml.chart+xml"/>
  <Override PartName="/ppt/theme/themeOverride36.xml" ContentType="application/vnd.openxmlformats-officedocument.themeOverride+xml"/>
  <Override PartName="/ppt/charts/chart92.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tags/tag85.xml" ContentType="application/vnd.openxmlformats-officedocument.presentationml.tags+xml"/>
  <Override PartName="/ppt/notesSlides/notesSlide58.xml" ContentType="application/vnd.openxmlformats-officedocument.presentationml.notesSlide+xml"/>
  <Override PartName="/ppt/tags/tag86.xml" ContentType="application/vnd.openxmlformats-officedocument.presentationml.tags+xml"/>
  <Override PartName="/ppt/notesSlides/notesSlide59.xml" ContentType="application/vnd.openxmlformats-officedocument.presentationml.notesSlide+xml"/>
  <Override PartName="/ppt/tags/tag87.xml" ContentType="application/vnd.openxmlformats-officedocument.presentationml.tags+xml"/>
  <Override PartName="/ppt/notesSlides/notesSlide60.xml" ContentType="application/vnd.openxmlformats-officedocument.presentationml.notesSlide+xml"/>
  <Override PartName="/ppt/tags/tag88.xml" ContentType="application/vnd.openxmlformats-officedocument.presentationml.tags+xml"/>
  <Override PartName="/ppt/notesSlides/notesSlide61.xml" ContentType="application/vnd.openxmlformats-officedocument.presentationml.notesSlide+xml"/>
  <Override PartName="/ppt/tags/tag89.xml" ContentType="application/vnd.openxmlformats-officedocument.presentationml.tags+xml"/>
  <Override PartName="/ppt/notesSlides/notesSlide62.xml" ContentType="application/vnd.openxmlformats-officedocument.presentationml.notesSlide+xml"/>
  <Override PartName="/ppt/tags/tag90.xml" ContentType="application/vnd.openxmlformats-officedocument.presentationml.tags+xml"/>
  <Override PartName="/ppt/notesSlides/notesSlide63.xml" ContentType="application/vnd.openxmlformats-officedocument.presentationml.notesSlide+xml"/>
  <Override PartName="/ppt/tags/tag91.xml" ContentType="application/vnd.openxmlformats-officedocument.presentationml.tags+xml"/>
  <Override PartName="/ppt/notesSlides/notesSlide64.xml" ContentType="application/vnd.openxmlformats-officedocument.presentationml.notesSlide+xml"/>
  <Override PartName="/ppt/tags/tag92.xml" ContentType="application/vnd.openxmlformats-officedocument.presentationml.tags+xml"/>
  <Override PartName="/ppt/notesSlides/notesSlide65.xml" ContentType="application/vnd.openxmlformats-officedocument.presentationml.notesSlide+xml"/>
  <Override PartName="/ppt/tags/tag93.xml" ContentType="application/vnd.openxmlformats-officedocument.presentationml.tags+xml"/>
  <Override PartName="/ppt/notesSlides/notesSlide66.xml" ContentType="application/vnd.openxmlformats-officedocument.presentationml.notesSlide+xml"/>
  <Override PartName="/ppt/tags/tag94.xml" ContentType="application/vnd.openxmlformats-officedocument.presentationml.tags+xml"/>
  <Override PartName="/ppt/notesSlides/notesSlide67.xml" ContentType="application/vnd.openxmlformats-officedocument.presentationml.notesSlide+xml"/>
  <Override PartName="/ppt/tags/tag95.xml" ContentType="application/vnd.openxmlformats-officedocument.presentationml.tags+xml"/>
  <Override PartName="/ppt/notesSlides/notesSlide68.xml" ContentType="application/vnd.openxmlformats-officedocument.presentationml.notesSlide+xml"/>
  <Override PartName="/ppt/tags/tag96.xml" ContentType="application/vnd.openxmlformats-officedocument.presentationml.tags+xml"/>
  <Override PartName="/ppt/notesSlides/notesSlide69.xml" ContentType="application/vnd.openxmlformats-officedocument.presentationml.notesSlide+xml"/>
  <Override PartName="/ppt/tags/tag97.xml" ContentType="application/vnd.openxmlformats-officedocument.presentationml.tags+xml"/>
  <Override PartName="/ppt/notesSlides/notesSlide70.xml" ContentType="application/vnd.openxmlformats-officedocument.presentationml.notesSlide+xml"/>
  <Override PartName="/ppt/tags/tag98.xml" ContentType="application/vnd.openxmlformats-officedocument.presentationml.tags+xml"/>
  <Override PartName="/ppt/notesSlides/notesSlide71.xml" ContentType="application/vnd.openxmlformats-officedocument.presentationml.notesSlide+xml"/>
  <Override PartName="/ppt/tags/tag99.xml" ContentType="application/vnd.openxmlformats-officedocument.presentationml.tags+xml"/>
  <Override PartName="/ppt/notesSlides/notesSlide72.xml" ContentType="application/vnd.openxmlformats-officedocument.presentationml.notesSlide+xml"/>
  <Override PartName="/ppt/tags/tag100.xml" ContentType="application/vnd.openxmlformats-officedocument.presentationml.tags+xml"/>
  <Override PartName="/ppt/notesSlides/notesSlide73.xml" ContentType="application/vnd.openxmlformats-officedocument.presentationml.notesSlide+xml"/>
  <Override PartName="/ppt/tags/tag101.xml" ContentType="application/vnd.openxmlformats-officedocument.presentationml.tags+xml"/>
  <Override PartName="/ppt/notesSlides/notesSlide74.xml" ContentType="application/vnd.openxmlformats-officedocument.presentationml.notesSlide+xml"/>
  <Override PartName="/ppt/tags/tag102.xml" ContentType="application/vnd.openxmlformats-officedocument.presentationml.tags+xml"/>
  <Override PartName="/ppt/notesSlides/notesSlide75.xml" ContentType="application/vnd.openxmlformats-officedocument.presentationml.notesSlide+xml"/>
  <Override PartName="/ppt/tags/tag103.xml" ContentType="application/vnd.openxmlformats-officedocument.presentationml.tags+xml"/>
  <Override PartName="/ppt/notesSlides/notesSlide76.xml" ContentType="application/vnd.openxmlformats-officedocument.presentationml.notesSlide+xml"/>
  <Override PartName="/ppt/tags/tag104.xml" ContentType="application/vnd.openxmlformats-officedocument.presentationml.tags+xml"/>
  <Override PartName="/ppt/notesSlides/notesSlide77.xml" ContentType="application/vnd.openxmlformats-officedocument.presentationml.notesSlide+xml"/>
  <Override PartName="/ppt/tags/tag105.xml" ContentType="application/vnd.openxmlformats-officedocument.presentationml.tags+xml"/>
  <Override PartName="/ppt/notesSlides/notesSlide78.xml" ContentType="application/vnd.openxmlformats-officedocument.presentationml.notesSlide+xml"/>
  <Override PartName="/ppt/tags/tag106.xml" ContentType="application/vnd.openxmlformats-officedocument.presentationml.tags+xml"/>
  <Override PartName="/ppt/notesSlides/notesSlide79.xml" ContentType="application/vnd.openxmlformats-officedocument.presentationml.notesSlide+xml"/>
  <Override PartName="/ppt/tags/tag107.xml" ContentType="application/vnd.openxmlformats-officedocument.presentationml.tags+xml"/>
  <Override PartName="/ppt/notesSlides/notesSlide80.xml" ContentType="application/vnd.openxmlformats-officedocument.presentationml.notesSlide+xml"/>
  <Override PartName="/ppt/tags/tag108.xml" ContentType="application/vnd.openxmlformats-officedocument.presentationml.tags+xml"/>
  <Override PartName="/ppt/notesSlides/notesSlide81.xml" ContentType="application/vnd.openxmlformats-officedocument.presentationml.notesSlide+xml"/>
  <Override PartName="/ppt/tags/tag109.xml" ContentType="application/vnd.openxmlformats-officedocument.presentationml.tags+xml"/>
  <Override PartName="/ppt/notesSlides/notesSlide82.xml" ContentType="application/vnd.openxmlformats-officedocument.presentationml.notesSlide+xml"/>
  <Override PartName="/ppt/tags/tag110.xml" ContentType="application/vnd.openxmlformats-officedocument.presentationml.tags+xml"/>
  <Override PartName="/ppt/notesSlides/notesSlide83.xml" ContentType="application/vnd.openxmlformats-officedocument.presentationml.notesSlide+xml"/>
  <Override PartName="/ppt/tags/tag111.xml" ContentType="application/vnd.openxmlformats-officedocument.presentationml.tags+xml"/>
  <Override PartName="/ppt/notesSlides/notesSlide84.xml" ContentType="application/vnd.openxmlformats-officedocument.presentationml.notesSlide+xml"/>
  <Override PartName="/ppt/tags/tag112.xml" ContentType="application/vnd.openxmlformats-officedocument.presentationml.tags+xml"/>
  <Override PartName="/ppt/notesSlides/notesSlide85.xml" ContentType="application/vnd.openxmlformats-officedocument.presentationml.notesSlide+xml"/>
  <Override PartName="/ppt/tags/tag113.xml" ContentType="application/vnd.openxmlformats-officedocument.presentationml.tags+xml"/>
  <Override PartName="/ppt/notesSlides/notesSlide86.xml" ContentType="application/vnd.openxmlformats-officedocument.presentationml.notesSlide+xml"/>
  <Override PartName="/ppt/tags/tag114.xml" ContentType="application/vnd.openxmlformats-officedocument.presentationml.tags+xml"/>
  <Override PartName="/ppt/notesSlides/notesSlide87.xml" ContentType="application/vnd.openxmlformats-officedocument.presentationml.notesSlide+xml"/>
  <Override PartName="/ppt/tags/tag115.xml" ContentType="application/vnd.openxmlformats-officedocument.presentationml.tags+xml"/>
  <Override PartName="/ppt/notesSlides/notesSlide88.xml" ContentType="application/vnd.openxmlformats-officedocument.presentationml.notesSlide+xml"/>
  <Override PartName="/ppt/tags/tag116.xml" ContentType="application/vnd.openxmlformats-officedocument.presentationml.tags+xml"/>
  <Override PartName="/ppt/notesSlides/notesSlide89.xml" ContentType="application/vnd.openxmlformats-officedocument.presentationml.notesSlide+xml"/>
  <Override PartName="/ppt/tags/tag117.xml" ContentType="application/vnd.openxmlformats-officedocument.presentationml.tags+xml"/>
  <Override PartName="/ppt/notesSlides/notesSlide90.xml" ContentType="application/vnd.openxmlformats-officedocument.presentationml.notesSlide+xml"/>
  <Override PartName="/ppt/tags/tag118.xml" ContentType="application/vnd.openxmlformats-officedocument.presentationml.tags+xml"/>
  <Override PartName="/ppt/notesSlides/notesSlide91.xml" ContentType="application/vnd.openxmlformats-officedocument.presentationml.notesSlide+xml"/>
  <Override PartName="/ppt/tags/tag119.xml" ContentType="application/vnd.openxmlformats-officedocument.presentationml.tags+xml"/>
  <Override PartName="/ppt/notesSlides/notesSlide92.xml" ContentType="application/vnd.openxmlformats-officedocument.presentationml.notesSlide+xml"/>
  <Override PartName="/ppt/tags/tag120.xml" ContentType="application/vnd.openxmlformats-officedocument.presentationml.tags+xml"/>
  <Override PartName="/ppt/notesSlides/notesSlide93.xml" ContentType="application/vnd.openxmlformats-officedocument.presentationml.notesSlide+xml"/>
  <Override PartName="/ppt/tags/tag121.xml" ContentType="application/vnd.openxmlformats-officedocument.presentationml.tags+xml"/>
  <Override PartName="/ppt/notesSlides/notesSlide94.xml" ContentType="application/vnd.openxmlformats-officedocument.presentationml.notesSlide+xml"/>
  <Override PartName="/ppt/tags/tag122.xml" ContentType="application/vnd.openxmlformats-officedocument.presentationml.tags+xml"/>
  <Override PartName="/ppt/notesSlides/notesSlide95.xml" ContentType="application/vnd.openxmlformats-officedocument.presentationml.notesSlide+xml"/>
  <Override PartName="/ppt/tags/tag123.xml" ContentType="application/vnd.openxmlformats-officedocument.presentationml.tags+xml"/>
  <Override PartName="/ppt/notesSlides/notesSlide96.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charts/chart93.xml" ContentType="application/vnd.openxmlformats-officedocument.drawingml.chart+xml"/>
  <Override PartName="/ppt/charts/style1.xml" ContentType="application/vnd.ms-office.chartstyle+xml"/>
  <Override PartName="/ppt/charts/colors1.xml" ContentType="application/vnd.ms-office.chartcolorstyle+xml"/>
  <Override PartName="/ppt/tags/tag147.xml" ContentType="application/vnd.openxmlformats-officedocument.presentationml.tags+xml"/>
  <Override PartName="/ppt/charts/chart94.xml" ContentType="application/vnd.openxmlformats-officedocument.drawingml.chart+xml"/>
  <Override PartName="/ppt/charts/style2.xml" ContentType="application/vnd.ms-office.chartstyle+xml"/>
  <Override PartName="/ppt/charts/colors2.xml" ContentType="application/vnd.ms-office.chartcolorstyle+xml"/>
  <Override PartName="/ppt/tags/tag148.xml" ContentType="application/vnd.openxmlformats-officedocument.presentationml.tags+xml"/>
  <Override PartName="/ppt/charts/chart95.xml" ContentType="application/vnd.openxmlformats-officedocument.drawingml.chart+xml"/>
  <Override PartName="/ppt/charts/style3.xml" ContentType="application/vnd.ms-office.chartstyle+xml"/>
  <Override PartName="/ppt/charts/colors3.xml" ContentType="application/vnd.ms-office.chartcolorstyle+xml"/>
  <Override PartName="/ppt/tags/tag149.xml" ContentType="application/vnd.openxmlformats-officedocument.presentationml.tags+xml"/>
  <Override PartName="/ppt/charts/chart96.xml" ContentType="application/vnd.openxmlformats-officedocument.drawingml.chart+xml"/>
  <Override PartName="/ppt/charts/style4.xml" ContentType="application/vnd.ms-office.chartstyle+xml"/>
  <Override PartName="/ppt/charts/colors4.xml" ContentType="application/vnd.ms-office.chartcolorstyle+xml"/>
  <Override PartName="/ppt/tags/tag150.xml" ContentType="application/vnd.openxmlformats-officedocument.presentationml.tags+xml"/>
  <Override PartName="/ppt/charts/chart97.xml" ContentType="application/vnd.openxmlformats-officedocument.drawingml.chart+xml"/>
  <Override PartName="/ppt/charts/style5.xml" ContentType="application/vnd.ms-office.chartstyle+xml"/>
  <Override PartName="/ppt/charts/colors5.xml" ContentType="application/vnd.ms-office.chartcolorstyle+xml"/>
  <Override PartName="/ppt/tags/tag151.xml" ContentType="application/vnd.openxmlformats-officedocument.presentationml.tags+xml"/>
  <Override PartName="/ppt/charts/chart98.xml" ContentType="application/vnd.openxmlformats-officedocument.drawingml.chart+xml"/>
  <Override PartName="/ppt/charts/style6.xml" ContentType="application/vnd.ms-office.chartstyle+xml"/>
  <Override PartName="/ppt/charts/colors6.xml" ContentType="application/vnd.ms-office.chartcolorstyle+xml"/>
  <Override PartName="/ppt/tags/tag152.xml" ContentType="application/vnd.openxmlformats-officedocument.presentationml.tags+xml"/>
  <Override PartName="/ppt/charts/chart99.xml" ContentType="application/vnd.openxmlformats-officedocument.drawingml.chart+xml"/>
  <Override PartName="/ppt/charts/style7.xml" ContentType="application/vnd.ms-office.chartstyle+xml"/>
  <Override PartName="/ppt/charts/colors7.xml" ContentType="application/vnd.ms-office.chartcolorstyle+xml"/>
  <Override PartName="/ppt/tags/tag153.xml" ContentType="application/vnd.openxmlformats-officedocument.presentationml.tags+xml"/>
  <Override PartName="/ppt/charts/chart100.xml" ContentType="application/vnd.openxmlformats-officedocument.drawingml.chart+xml"/>
  <Override PartName="/ppt/charts/style8.xml" ContentType="application/vnd.ms-office.chartstyle+xml"/>
  <Override PartName="/ppt/charts/colors8.xml" ContentType="application/vnd.ms-office.chartcolorstyle+xml"/>
  <Override PartName="/ppt/tags/tag154.xml" ContentType="application/vnd.openxmlformats-officedocument.presentationml.tags+xml"/>
  <Override PartName="/ppt/charts/chart101.xml" ContentType="application/vnd.openxmlformats-officedocument.drawingml.chart+xml"/>
  <Override PartName="/ppt/charts/style9.xml" ContentType="application/vnd.ms-office.chartstyle+xml"/>
  <Override PartName="/ppt/charts/colors9.xml" ContentType="application/vnd.ms-office.chartcolorstyle+xml"/>
  <Override PartName="/ppt/tags/tag155.xml" ContentType="application/vnd.openxmlformats-officedocument.presentationml.tags+xml"/>
  <Override PartName="/ppt/charts/chart102.xml" ContentType="application/vnd.openxmlformats-officedocument.drawingml.chart+xml"/>
  <Override PartName="/ppt/charts/style10.xml" ContentType="application/vnd.ms-office.chartstyle+xml"/>
  <Override PartName="/ppt/charts/colors10.xml" ContentType="application/vnd.ms-office.chartcolorstyle+xml"/>
  <Override PartName="/ppt/tags/tag156.xml" ContentType="application/vnd.openxmlformats-officedocument.presentationml.tags+xml"/>
  <Override PartName="/ppt/charts/chart103.xml" ContentType="application/vnd.openxmlformats-officedocument.drawingml.chart+xml"/>
  <Override PartName="/ppt/charts/style11.xml" ContentType="application/vnd.ms-office.chartstyle+xml"/>
  <Override PartName="/ppt/charts/colors11.xml" ContentType="application/vnd.ms-office.chartcolorstyle+xml"/>
  <Override PartName="/ppt/tags/tag157.xml" ContentType="application/vnd.openxmlformats-officedocument.presentationml.tags+xml"/>
  <Override PartName="/ppt/charts/chart104.xml" ContentType="application/vnd.openxmlformats-officedocument.drawingml.chart+xml"/>
  <Override PartName="/ppt/charts/style12.xml" ContentType="application/vnd.ms-office.chartstyle+xml"/>
  <Override PartName="/ppt/charts/colors12.xml" ContentType="application/vnd.ms-office.chartcolorstyle+xml"/>
  <Override PartName="/ppt/tags/tag158.xml" ContentType="application/vnd.openxmlformats-officedocument.presentationml.tags+xml"/>
  <Override PartName="/ppt/charts/chart105.xml" ContentType="application/vnd.openxmlformats-officedocument.drawingml.chart+xml"/>
  <Override PartName="/ppt/charts/style13.xml" ContentType="application/vnd.ms-office.chartstyle+xml"/>
  <Override PartName="/ppt/charts/colors13.xml" ContentType="application/vnd.ms-office.chartcolorstyle+xml"/>
  <Override PartName="/ppt/tags/tag159.xml" ContentType="application/vnd.openxmlformats-officedocument.presentationml.tags+xml"/>
  <Override PartName="/ppt/charts/chart106.xml" ContentType="application/vnd.openxmlformats-officedocument.drawingml.chart+xml"/>
  <Override PartName="/ppt/charts/style14.xml" ContentType="application/vnd.ms-office.chartstyle+xml"/>
  <Override PartName="/ppt/charts/colors14.xml" ContentType="application/vnd.ms-office.chartcolorstyle+xml"/>
  <Override PartName="/ppt/tags/tag160.xml" ContentType="application/vnd.openxmlformats-officedocument.presentationml.tags+xml"/>
  <Override PartName="/ppt/charts/chart107.xml" ContentType="application/vnd.openxmlformats-officedocument.drawingml.chart+xml"/>
  <Override PartName="/ppt/charts/style15.xml" ContentType="application/vnd.ms-office.chartstyle+xml"/>
  <Override PartName="/ppt/charts/colors15.xml" ContentType="application/vnd.ms-office.chartcolorstyle+xml"/>
  <Override PartName="/ppt/tags/tag161.xml" ContentType="application/vnd.openxmlformats-officedocument.presentationml.tags+xml"/>
  <Override PartName="/ppt/charts/chart108.xml" ContentType="application/vnd.openxmlformats-officedocument.drawingml.chart+xml"/>
  <Override PartName="/ppt/charts/style16.xml" ContentType="application/vnd.ms-office.chartstyle+xml"/>
  <Override PartName="/ppt/charts/colors16.xml" ContentType="application/vnd.ms-office.chartcolorstyle+xml"/>
  <Override PartName="/ppt/tags/tag162.xml" ContentType="application/vnd.openxmlformats-officedocument.presentationml.tags+xml"/>
  <Override PartName="/ppt/charts/chart109.xml" ContentType="application/vnd.openxmlformats-officedocument.drawingml.chart+xml"/>
  <Override PartName="/ppt/charts/style17.xml" ContentType="application/vnd.ms-office.chartstyle+xml"/>
  <Override PartName="/ppt/charts/colors17.xml" ContentType="application/vnd.ms-office.chartcolorstyle+xml"/>
  <Override PartName="/ppt/tags/tag163.xml" ContentType="application/vnd.openxmlformats-officedocument.presentationml.tags+xml"/>
  <Override PartName="/ppt/charts/chart110.xml" ContentType="application/vnd.openxmlformats-officedocument.drawingml.chart+xml"/>
  <Override PartName="/ppt/charts/style18.xml" ContentType="application/vnd.ms-office.chartstyle+xml"/>
  <Override PartName="/ppt/charts/colors18.xml" ContentType="application/vnd.ms-office.chartcolorstyle+xml"/>
  <Override PartName="/ppt/tags/tag164.xml" ContentType="application/vnd.openxmlformats-officedocument.presentationml.tags+xml"/>
  <Override PartName="/ppt/charts/chart111.xml" ContentType="application/vnd.openxmlformats-officedocument.drawingml.chart+xml"/>
  <Override PartName="/ppt/charts/style19.xml" ContentType="application/vnd.ms-office.chartstyle+xml"/>
  <Override PartName="/ppt/charts/colors19.xml" ContentType="application/vnd.ms-office.chartcolorstyle+xml"/>
  <Override PartName="/ppt/tags/tag165.xml" ContentType="application/vnd.openxmlformats-officedocument.presentationml.tags+xml"/>
  <Override PartName="/ppt/charts/chart112.xml" ContentType="application/vnd.openxmlformats-officedocument.drawingml.chart+xml"/>
  <Override PartName="/ppt/charts/style20.xml" ContentType="application/vnd.ms-office.chartstyle+xml"/>
  <Override PartName="/ppt/charts/colors20.xml" ContentType="application/vnd.ms-office.chartcolorstyle+xml"/>
  <Override PartName="/ppt/tags/tag166.xml" ContentType="application/vnd.openxmlformats-officedocument.presentationml.tags+xml"/>
  <Override PartName="/ppt/charts/chart113.xml" ContentType="application/vnd.openxmlformats-officedocument.drawingml.chart+xml"/>
  <Override PartName="/ppt/charts/style21.xml" ContentType="application/vnd.ms-office.chartstyle+xml"/>
  <Override PartName="/ppt/charts/colors21.xml" ContentType="application/vnd.ms-office.chartcolorstyle+xml"/>
  <Override PartName="/ppt/tags/tag167.xml" ContentType="application/vnd.openxmlformats-officedocument.presentationml.tags+xml"/>
  <Override PartName="/ppt/charts/chart114.xml" ContentType="application/vnd.openxmlformats-officedocument.drawingml.chart+xml"/>
  <Override PartName="/ppt/charts/style22.xml" ContentType="application/vnd.ms-office.chartstyle+xml"/>
  <Override PartName="/ppt/charts/colors22.xml" ContentType="application/vnd.ms-office.chartcolorstyle+xml"/>
  <Override PartName="/ppt/tags/tag168.xml" ContentType="application/vnd.openxmlformats-officedocument.presentationml.tags+xml"/>
  <Override PartName="/ppt/charts/chart115.xml" ContentType="application/vnd.openxmlformats-officedocument.drawingml.chart+xml"/>
  <Override PartName="/ppt/charts/style23.xml" ContentType="application/vnd.ms-office.chartstyle+xml"/>
  <Override PartName="/ppt/charts/colors23.xml" ContentType="application/vnd.ms-office.chartcolorstyle+xml"/>
  <Override PartName="/ppt/tags/tag169.xml" ContentType="application/vnd.openxmlformats-officedocument.presentationml.tags+xml"/>
  <Override PartName="/ppt/charts/chart116.xml" ContentType="application/vnd.openxmlformats-officedocument.drawingml.chart+xml"/>
  <Override PartName="/ppt/charts/style24.xml" ContentType="application/vnd.ms-office.chartstyle+xml"/>
  <Override PartName="/ppt/charts/colors24.xml" ContentType="application/vnd.ms-office.chartcolorstyle+xml"/>
  <Override PartName="/ppt/tags/tag170.xml" ContentType="application/vnd.openxmlformats-officedocument.presentationml.tags+xml"/>
  <Override PartName="/ppt/charts/chart117.xml" ContentType="application/vnd.openxmlformats-officedocument.drawingml.chart+xml"/>
  <Override PartName="/ppt/charts/style25.xml" ContentType="application/vnd.ms-office.chartstyle+xml"/>
  <Override PartName="/ppt/charts/colors25.xml" ContentType="application/vnd.ms-office.chartcolorstyle+xml"/>
  <Override PartName="/ppt/tags/tag171.xml" ContentType="application/vnd.openxmlformats-officedocument.presentationml.tags+xml"/>
  <Override PartName="/ppt/charts/chart118.xml" ContentType="application/vnd.openxmlformats-officedocument.drawingml.chart+xml"/>
  <Override PartName="/ppt/charts/style26.xml" ContentType="application/vnd.ms-office.chartstyle+xml"/>
  <Override PartName="/ppt/charts/colors26.xml" ContentType="application/vnd.ms-office.chartcolorstyle+xml"/>
  <Override PartName="/ppt/tags/tag172.xml" ContentType="application/vnd.openxmlformats-officedocument.presentationml.tags+xml"/>
  <Override PartName="/ppt/charts/chart119.xml" ContentType="application/vnd.openxmlformats-officedocument.drawingml.chart+xml"/>
  <Override PartName="/ppt/charts/style27.xml" ContentType="application/vnd.ms-office.chartstyle+xml"/>
  <Override PartName="/ppt/charts/colors27.xml" ContentType="application/vnd.ms-office.chartcolorstyle+xml"/>
  <Override PartName="/ppt/tags/tag173.xml" ContentType="application/vnd.openxmlformats-officedocument.presentationml.tags+xml"/>
  <Override PartName="/ppt/charts/chart120.xml" ContentType="application/vnd.openxmlformats-officedocument.drawingml.chart+xml"/>
  <Override PartName="/ppt/charts/style28.xml" ContentType="application/vnd.ms-office.chartstyle+xml"/>
  <Override PartName="/ppt/charts/colors28.xml" ContentType="application/vnd.ms-office.chartcolorstyle+xml"/>
  <Override PartName="/ppt/tags/tag174.xml" ContentType="application/vnd.openxmlformats-officedocument.presentationml.tags+xml"/>
  <Override PartName="/ppt/charts/chart121.xml" ContentType="application/vnd.openxmlformats-officedocument.drawingml.chart+xml"/>
  <Override PartName="/ppt/charts/style29.xml" ContentType="application/vnd.ms-office.chartstyle+xml"/>
  <Override PartName="/ppt/charts/colors29.xml" ContentType="application/vnd.ms-office.chartcolorstyle+xml"/>
  <Override PartName="/ppt/tags/tag175.xml" ContentType="application/vnd.openxmlformats-officedocument.presentationml.tags+xml"/>
  <Override PartName="/ppt/charts/chart122.xml" ContentType="application/vnd.openxmlformats-officedocument.drawingml.chart+xml"/>
  <Override PartName="/ppt/charts/style30.xml" ContentType="application/vnd.ms-office.chartstyle+xml"/>
  <Override PartName="/ppt/charts/colors30.xml" ContentType="application/vnd.ms-office.chartcolorstyle+xml"/>
  <Override PartName="/ppt/tags/tag176.xml" ContentType="application/vnd.openxmlformats-officedocument.presentationml.tags+xml"/>
  <Override PartName="/ppt/charts/chart123.xml" ContentType="application/vnd.openxmlformats-officedocument.drawingml.chart+xml"/>
  <Override PartName="/ppt/charts/style31.xml" ContentType="application/vnd.ms-office.chartstyle+xml"/>
  <Override PartName="/ppt/charts/colors31.xml" ContentType="application/vnd.ms-office.chartcolorstyle+xml"/>
  <Override PartName="/ppt/tags/tag177.xml" ContentType="application/vnd.openxmlformats-officedocument.presentationml.tags+xml"/>
  <Override PartName="/ppt/charts/chart124.xml" ContentType="application/vnd.openxmlformats-officedocument.drawingml.chart+xml"/>
  <Override PartName="/ppt/charts/style32.xml" ContentType="application/vnd.ms-office.chartstyle+xml"/>
  <Override PartName="/ppt/charts/colors32.xml" ContentType="application/vnd.ms-office.chartcolorstyle+xml"/>
  <Override PartName="/ppt/tags/tag178.xml" ContentType="application/vnd.openxmlformats-officedocument.presentationml.tags+xml"/>
  <Override PartName="/ppt/charts/chart125.xml" ContentType="application/vnd.openxmlformats-officedocument.drawingml.chart+xml"/>
  <Override PartName="/ppt/charts/style33.xml" ContentType="application/vnd.ms-office.chartstyle+xml"/>
  <Override PartName="/ppt/charts/colors33.xml" ContentType="application/vnd.ms-office.chartcolorstyle+xml"/>
  <Override PartName="/ppt/tags/tag179.xml" ContentType="application/vnd.openxmlformats-officedocument.presentationml.tags+xml"/>
  <Override PartName="/ppt/charts/chart126.xml" ContentType="application/vnd.openxmlformats-officedocument.drawingml.chart+xml"/>
  <Override PartName="/ppt/charts/style34.xml" ContentType="application/vnd.ms-office.chartstyle+xml"/>
  <Override PartName="/ppt/charts/colors34.xml" ContentType="application/vnd.ms-office.chartcolorstyle+xml"/>
  <Override PartName="/ppt/tags/tag180.xml" ContentType="application/vnd.openxmlformats-officedocument.presentationml.tags+xml"/>
  <Override PartName="/ppt/charts/chart127.xml" ContentType="application/vnd.openxmlformats-officedocument.drawingml.chart+xml"/>
  <Override PartName="/ppt/charts/style35.xml" ContentType="application/vnd.ms-office.chartstyle+xml"/>
  <Override PartName="/ppt/charts/colors35.xml" ContentType="application/vnd.ms-office.chartcolorstyle+xml"/>
  <Override PartName="/ppt/tags/tag181.xml" ContentType="application/vnd.openxmlformats-officedocument.presentationml.tags+xml"/>
  <Override PartName="/ppt/charts/chart128.xml" ContentType="application/vnd.openxmlformats-officedocument.drawingml.chart+xml"/>
  <Override PartName="/ppt/charts/style36.xml" ContentType="application/vnd.ms-office.chartstyle+xml"/>
  <Override PartName="/ppt/charts/colors36.xml" ContentType="application/vnd.ms-office.chartcolorstyle+xml"/>
  <Override PartName="/ppt/tags/tag182.xml" ContentType="application/vnd.openxmlformats-officedocument.presentationml.tags+xml"/>
  <Override PartName="/ppt/charts/chart129.xml" ContentType="application/vnd.openxmlformats-officedocument.drawingml.chart+xml"/>
  <Override PartName="/ppt/charts/style37.xml" ContentType="application/vnd.ms-office.chartstyle+xml"/>
  <Override PartName="/ppt/charts/colors37.xml" ContentType="application/vnd.ms-office.chartcolorstyle+xml"/>
  <Override PartName="/ppt/tags/tag183.xml" ContentType="application/vnd.openxmlformats-officedocument.presentationml.tags+xml"/>
  <Override PartName="/ppt/charts/chart130.xml" ContentType="application/vnd.openxmlformats-officedocument.drawingml.chart+xml"/>
  <Override PartName="/ppt/charts/style38.xml" ContentType="application/vnd.ms-office.chartstyle+xml"/>
  <Override PartName="/ppt/charts/colors38.xml" ContentType="application/vnd.ms-office.chartcolorstyle+xml"/>
  <Override PartName="/ppt/tags/tag184.xml" ContentType="application/vnd.openxmlformats-officedocument.presentationml.tags+xml"/>
  <Override PartName="/ppt/charts/chart131.xml" ContentType="application/vnd.openxmlformats-officedocument.drawingml.chart+xml"/>
  <Override PartName="/ppt/charts/style39.xml" ContentType="application/vnd.ms-office.chartstyle+xml"/>
  <Override PartName="/ppt/charts/colors39.xml" ContentType="application/vnd.ms-office.chartcolorstyle+xml"/>
  <Override PartName="/ppt/tags/tag185.xml" ContentType="application/vnd.openxmlformats-officedocument.presentationml.tags+xml"/>
  <Override PartName="/ppt/charts/chart132.xml" ContentType="application/vnd.openxmlformats-officedocument.drawingml.chart+xml"/>
  <Override PartName="/ppt/charts/style40.xml" ContentType="application/vnd.ms-office.chartstyle+xml"/>
  <Override PartName="/ppt/charts/colors40.xml" ContentType="application/vnd.ms-office.chartcolorstyle+xml"/>
  <Override PartName="/ppt/tags/tag186.xml" ContentType="application/vnd.openxmlformats-officedocument.presentationml.tags+xml"/>
  <Override PartName="/ppt/charts/chart133.xml" ContentType="application/vnd.openxmlformats-officedocument.drawingml.chart+xml"/>
  <Override PartName="/ppt/charts/style41.xml" ContentType="application/vnd.ms-office.chartstyle+xml"/>
  <Override PartName="/ppt/charts/colors41.xml" ContentType="application/vnd.ms-office.chartcolorstyle+xml"/>
  <Override PartName="/ppt/tags/tag187.xml" ContentType="application/vnd.openxmlformats-officedocument.presentationml.tags+xml"/>
  <Override PartName="/ppt/charts/chart134.xml" ContentType="application/vnd.openxmlformats-officedocument.drawingml.chart+xml"/>
  <Override PartName="/ppt/charts/style42.xml" ContentType="application/vnd.ms-office.chartstyle+xml"/>
  <Override PartName="/ppt/charts/colors42.xml" ContentType="application/vnd.ms-office.chartcolorstyle+xml"/>
  <Override PartName="/ppt/tags/tag188.xml" ContentType="application/vnd.openxmlformats-officedocument.presentationml.tags+xml"/>
  <Override PartName="/ppt/charts/chart135.xml" ContentType="application/vnd.openxmlformats-officedocument.drawingml.chart+xml"/>
  <Override PartName="/ppt/charts/style43.xml" ContentType="application/vnd.ms-office.chartstyle+xml"/>
  <Override PartName="/ppt/charts/colors43.xml" ContentType="application/vnd.ms-office.chartcolorstyle+xml"/>
  <Override PartName="/ppt/tags/tag189.xml" ContentType="application/vnd.openxmlformats-officedocument.presentationml.tags+xml"/>
  <Override PartName="/ppt/charts/chart136.xml" ContentType="application/vnd.openxmlformats-officedocument.drawingml.chart+xml"/>
  <Override PartName="/ppt/charts/style44.xml" ContentType="application/vnd.ms-office.chartstyle+xml"/>
  <Override PartName="/ppt/charts/colors44.xml" ContentType="application/vnd.ms-office.chartcolorstyle+xml"/>
  <Override PartName="/ppt/tags/tag190.xml" ContentType="application/vnd.openxmlformats-officedocument.presentationml.tags+xml"/>
  <Override PartName="/ppt/charts/chart137.xml" ContentType="application/vnd.openxmlformats-officedocument.drawingml.chart+xml"/>
  <Override PartName="/ppt/charts/style45.xml" ContentType="application/vnd.ms-office.chartstyle+xml"/>
  <Override PartName="/ppt/charts/colors45.xml" ContentType="application/vnd.ms-office.chartcolorstyle+xml"/>
  <Override PartName="/ppt/tags/tag191.xml" ContentType="application/vnd.openxmlformats-officedocument.presentationml.tags+xml"/>
  <Override PartName="/ppt/charts/chart138.xml" ContentType="application/vnd.openxmlformats-officedocument.drawingml.chart+xml"/>
  <Override PartName="/ppt/charts/style46.xml" ContentType="application/vnd.ms-office.chartstyle+xml"/>
  <Override PartName="/ppt/charts/colors46.xml" ContentType="application/vnd.ms-office.chartcolorstyle+xml"/>
  <Override PartName="/ppt/tags/tag192.xml" ContentType="application/vnd.openxmlformats-officedocument.presentationml.tags+xml"/>
  <Override PartName="/ppt/charts/chart139.xml" ContentType="application/vnd.openxmlformats-officedocument.drawingml.chart+xml"/>
  <Override PartName="/ppt/charts/style47.xml" ContentType="application/vnd.ms-office.chartstyle+xml"/>
  <Override PartName="/ppt/charts/colors47.xml" ContentType="application/vnd.ms-office.chartcolorstyle+xml"/>
  <Override PartName="/ppt/tags/tag193.xml" ContentType="application/vnd.openxmlformats-officedocument.presentationml.tags+xml"/>
  <Override PartName="/ppt/charts/chart140.xml" ContentType="application/vnd.openxmlformats-officedocument.drawingml.chart+xml"/>
  <Override PartName="/ppt/charts/style48.xml" ContentType="application/vnd.ms-office.chartstyle+xml"/>
  <Override PartName="/ppt/charts/colors48.xml" ContentType="application/vnd.ms-office.chartcolorstyle+xml"/>
  <Override PartName="/ppt/tags/tag194.xml" ContentType="application/vnd.openxmlformats-officedocument.presentationml.tags+xml"/>
  <Override PartName="/ppt/notesSlides/notesSlide97.xml" ContentType="application/vnd.openxmlformats-officedocument.presentationml.notesSlide+xml"/>
  <Override PartName="/ppt/charts/chart141.xml" ContentType="application/vnd.openxmlformats-officedocument.drawingml.chart+xml"/>
  <Override PartName="/ppt/tags/tag195.xml" ContentType="application/vnd.openxmlformats-officedocument.presentationml.tags+xml"/>
  <Override PartName="/ppt/notesSlides/notesSlide98.xml" ContentType="application/vnd.openxmlformats-officedocument.presentationml.notesSlide+xml"/>
  <Override PartName="/ppt/charts/chart142.xml" ContentType="application/vnd.openxmlformats-officedocument.drawingml.chart+xml"/>
  <Override PartName="/ppt/tags/tag196.xml" ContentType="application/vnd.openxmlformats-officedocument.presentationml.tags+xml"/>
  <Override PartName="/ppt/notesSlides/notesSlide99.xml" ContentType="application/vnd.openxmlformats-officedocument.presentationml.notesSlide+xml"/>
  <Override PartName="/ppt/charts/chart143.xml" ContentType="application/vnd.openxmlformats-officedocument.drawingml.chart+xml"/>
  <Override PartName="/ppt/tags/tag197.xml" ContentType="application/vnd.openxmlformats-officedocument.presentationml.tags+xml"/>
  <Override PartName="/ppt/notesSlides/notesSlide100.xml" ContentType="application/vnd.openxmlformats-officedocument.presentationml.notesSlide+xml"/>
  <Override PartName="/ppt/charts/chart144.xml" ContentType="application/vnd.openxmlformats-officedocument.drawingml.chart+xml"/>
  <Override PartName="/ppt/tags/tag198.xml" ContentType="application/vnd.openxmlformats-officedocument.presentationml.tags+xml"/>
  <Override PartName="/ppt/notesSlides/notesSlide101.xml" ContentType="application/vnd.openxmlformats-officedocument.presentationml.notesSlide+xml"/>
  <Override PartName="/ppt/charts/chart145.xml" ContentType="application/vnd.openxmlformats-officedocument.drawingml.chart+xml"/>
  <Override PartName="/ppt/tags/tag199.xml" ContentType="application/vnd.openxmlformats-officedocument.presentationml.tags+xml"/>
  <Override PartName="/ppt/notesSlides/notesSlide102.xml" ContentType="application/vnd.openxmlformats-officedocument.presentationml.notesSlide+xml"/>
  <Override PartName="/ppt/charts/chart146.xml" ContentType="application/vnd.openxmlformats-officedocument.drawingml.chart+xml"/>
  <Override PartName="/ppt/tags/tag200.xml" ContentType="application/vnd.openxmlformats-officedocument.presentationml.tags+xml"/>
  <Override PartName="/ppt/notesSlides/notesSlide103.xml" ContentType="application/vnd.openxmlformats-officedocument.presentationml.notesSlide+xml"/>
  <Override PartName="/ppt/charts/chart147.xml" ContentType="application/vnd.openxmlformats-officedocument.drawingml.chart+xml"/>
  <Override PartName="/ppt/tags/tag201.xml" ContentType="application/vnd.openxmlformats-officedocument.presentationml.tags+xml"/>
  <Override PartName="/ppt/notesSlides/notesSlide104.xml" ContentType="application/vnd.openxmlformats-officedocument.presentationml.notesSlide+xml"/>
  <Override PartName="/ppt/charts/chart148.xml" ContentType="application/vnd.openxmlformats-officedocument.drawingml.chart+xml"/>
  <Override PartName="/ppt/tags/tag202.xml" ContentType="application/vnd.openxmlformats-officedocument.presentationml.tags+xml"/>
  <Override PartName="/ppt/notesSlides/notesSlide105.xml" ContentType="application/vnd.openxmlformats-officedocument.presentationml.notesSlide+xml"/>
  <Override PartName="/ppt/charts/chart149.xml" ContentType="application/vnd.openxmlformats-officedocument.drawingml.chart+xml"/>
  <Override PartName="/ppt/tags/tag203.xml" ContentType="application/vnd.openxmlformats-officedocument.presentationml.tags+xml"/>
  <Override PartName="/ppt/notesSlides/notesSlide106.xml" ContentType="application/vnd.openxmlformats-officedocument.presentationml.notesSlide+xml"/>
  <Override PartName="/ppt/charts/chart150.xml" ContentType="application/vnd.openxmlformats-officedocument.drawingml.chart+xml"/>
  <Override PartName="/ppt/tags/tag204.xml" ContentType="application/vnd.openxmlformats-officedocument.presentationml.tags+xml"/>
  <Override PartName="/ppt/notesSlides/notesSlide107.xml" ContentType="application/vnd.openxmlformats-officedocument.presentationml.notesSlide+xml"/>
  <Override PartName="/ppt/charts/chart151.xml" ContentType="application/vnd.openxmlformats-officedocument.drawingml.chart+xml"/>
  <Override PartName="/ppt/tags/tag205.xml" ContentType="application/vnd.openxmlformats-officedocument.presentationml.tags+xml"/>
  <Override PartName="/ppt/notesSlides/notesSlide108.xml" ContentType="application/vnd.openxmlformats-officedocument.presentationml.notesSlide+xml"/>
  <Override PartName="/ppt/charts/chart152.xml" ContentType="application/vnd.openxmlformats-officedocument.drawingml.chart+xml"/>
  <Override PartName="/ppt/tags/tag206.xml" ContentType="application/vnd.openxmlformats-officedocument.presentationml.tags+xml"/>
  <Override PartName="/ppt/notesSlides/notesSlide109.xml" ContentType="application/vnd.openxmlformats-officedocument.presentationml.notesSlide+xml"/>
  <Override PartName="/ppt/charts/chart153.xml" ContentType="application/vnd.openxmlformats-officedocument.drawingml.chart+xml"/>
  <Override PartName="/ppt/tags/tag207.xml" ContentType="application/vnd.openxmlformats-officedocument.presentationml.tags+xml"/>
  <Override PartName="/ppt/notesSlides/notesSlide110.xml" ContentType="application/vnd.openxmlformats-officedocument.presentationml.notesSlide+xml"/>
  <Override PartName="/ppt/charts/chart154.xml" ContentType="application/vnd.openxmlformats-officedocument.drawingml.chart+xml"/>
  <Override PartName="/ppt/tags/tag208.xml" ContentType="application/vnd.openxmlformats-officedocument.presentationml.tags+xml"/>
  <Override PartName="/ppt/notesSlides/notesSlide111.xml" ContentType="application/vnd.openxmlformats-officedocument.presentationml.notesSlide+xml"/>
  <Override PartName="/ppt/charts/chart155.xml" ContentType="application/vnd.openxmlformats-officedocument.drawingml.chart+xml"/>
  <Override PartName="/ppt/tags/tag209.xml" ContentType="application/vnd.openxmlformats-officedocument.presentationml.tags+xml"/>
  <Override PartName="/ppt/notesSlides/notesSlide112.xml" ContentType="application/vnd.openxmlformats-officedocument.presentationml.notesSlide+xml"/>
  <Override PartName="/ppt/charts/chart156.xml" ContentType="application/vnd.openxmlformats-officedocument.drawingml.chart+xml"/>
  <Override PartName="/ppt/tags/tag210.xml" ContentType="application/vnd.openxmlformats-officedocument.presentationml.tags+xml"/>
  <Override PartName="/ppt/notesSlides/notesSlide113.xml" ContentType="application/vnd.openxmlformats-officedocument.presentationml.notesSlide+xml"/>
  <Override PartName="/ppt/charts/chart157.xml" ContentType="application/vnd.openxmlformats-officedocument.drawingml.chart+xml"/>
  <Override PartName="/ppt/tags/tag211.xml" ContentType="application/vnd.openxmlformats-officedocument.presentationml.tags+xml"/>
  <Override PartName="/ppt/notesSlides/notesSlide114.xml" ContentType="application/vnd.openxmlformats-officedocument.presentationml.notesSlide+xml"/>
  <Override PartName="/ppt/charts/chart158.xml" ContentType="application/vnd.openxmlformats-officedocument.drawingml.chart+xml"/>
  <Override PartName="/ppt/tags/tag212.xml" ContentType="application/vnd.openxmlformats-officedocument.presentationml.tags+xml"/>
  <Override PartName="/ppt/notesSlides/notesSlide115.xml" ContentType="application/vnd.openxmlformats-officedocument.presentationml.notesSlide+xml"/>
  <Override PartName="/ppt/charts/chart159.xml" ContentType="application/vnd.openxmlformats-officedocument.drawingml.chart+xml"/>
  <Override PartName="/ppt/tags/tag213.xml" ContentType="application/vnd.openxmlformats-officedocument.presentationml.tags+xml"/>
  <Override PartName="/ppt/notesSlides/notesSlide116.xml" ContentType="application/vnd.openxmlformats-officedocument.presentationml.notesSlide+xml"/>
  <Override PartName="/ppt/charts/chart160.xml" ContentType="application/vnd.openxmlformats-officedocument.drawingml.chart+xml"/>
  <Override PartName="/ppt/tags/tag214.xml" ContentType="application/vnd.openxmlformats-officedocument.presentationml.tags+xml"/>
  <Override PartName="/ppt/notesSlides/notesSlide117.xml" ContentType="application/vnd.openxmlformats-officedocument.presentationml.notesSlide+xml"/>
  <Override PartName="/ppt/charts/chart161.xml" ContentType="application/vnd.openxmlformats-officedocument.drawingml.chart+xml"/>
  <Override PartName="/ppt/tags/tag215.xml" ContentType="application/vnd.openxmlformats-officedocument.presentationml.tags+xml"/>
  <Override PartName="/ppt/notesSlides/notesSlide118.xml" ContentType="application/vnd.openxmlformats-officedocument.presentationml.notesSlide+xml"/>
  <Override PartName="/ppt/charts/chart162.xml" ContentType="application/vnd.openxmlformats-officedocument.drawingml.chart+xml"/>
  <Override PartName="/ppt/tags/tag216.xml" ContentType="application/vnd.openxmlformats-officedocument.presentationml.tags+xml"/>
  <Override PartName="/ppt/notesSlides/notesSlide119.xml" ContentType="application/vnd.openxmlformats-officedocument.presentationml.notesSlide+xml"/>
  <Override PartName="/ppt/charts/chart163.xml" ContentType="application/vnd.openxmlformats-officedocument.drawingml.chart+xml"/>
  <Override PartName="/ppt/tags/tag217.xml" ContentType="application/vnd.openxmlformats-officedocument.presentationml.tags+xml"/>
  <Override PartName="/ppt/notesSlides/notesSlide120.xml" ContentType="application/vnd.openxmlformats-officedocument.presentationml.notesSlide+xml"/>
  <Override PartName="/ppt/charts/chart164.xml" ContentType="application/vnd.openxmlformats-officedocument.drawingml.chart+xml"/>
  <Override PartName="/ppt/tags/tag218.xml" ContentType="application/vnd.openxmlformats-officedocument.presentationml.tags+xml"/>
  <Override PartName="/ppt/notesSlides/notesSlide121.xml" ContentType="application/vnd.openxmlformats-officedocument.presentationml.notesSlide+xml"/>
  <Override PartName="/ppt/charts/chart165.xml" ContentType="application/vnd.openxmlformats-officedocument.drawingml.chart+xml"/>
  <Override PartName="/ppt/tags/tag219.xml" ContentType="application/vnd.openxmlformats-officedocument.presentationml.tags+xml"/>
  <Override PartName="/ppt/notesSlides/notesSlide122.xml" ContentType="application/vnd.openxmlformats-officedocument.presentationml.notesSlide+xml"/>
  <Override PartName="/ppt/charts/chart166.xml" ContentType="application/vnd.openxmlformats-officedocument.drawingml.chart+xml"/>
  <Override PartName="/ppt/tags/tag220.xml" ContentType="application/vnd.openxmlformats-officedocument.presentationml.tags+xml"/>
  <Override PartName="/ppt/notesSlides/notesSlide123.xml" ContentType="application/vnd.openxmlformats-officedocument.presentationml.notesSlide+xml"/>
  <Override PartName="/ppt/charts/chart167.xml" ContentType="application/vnd.openxmlformats-officedocument.drawingml.chart+xml"/>
  <Override PartName="/ppt/tags/tag221.xml" ContentType="application/vnd.openxmlformats-officedocument.presentationml.tags+xml"/>
  <Override PartName="/ppt/notesSlides/notesSlide124.xml" ContentType="application/vnd.openxmlformats-officedocument.presentationml.notesSlide+xml"/>
  <Override PartName="/ppt/charts/chart168.xml" ContentType="application/vnd.openxmlformats-officedocument.drawingml.chart+xml"/>
  <Override PartName="/ppt/tags/tag222.xml" ContentType="application/vnd.openxmlformats-officedocument.presentationml.tags+xml"/>
  <Override PartName="/ppt/notesSlides/notesSlide125.xml" ContentType="application/vnd.openxmlformats-officedocument.presentationml.notesSlide+xml"/>
  <Override PartName="/ppt/charts/chart169.xml" ContentType="application/vnd.openxmlformats-officedocument.drawingml.chart+xml"/>
  <Override PartName="/ppt/tags/tag223.xml" ContentType="application/vnd.openxmlformats-officedocument.presentationml.tags+xml"/>
  <Override PartName="/ppt/notesSlides/notesSlide126.xml" ContentType="application/vnd.openxmlformats-officedocument.presentationml.notesSlide+xml"/>
  <Override PartName="/ppt/charts/chart170.xml" ContentType="application/vnd.openxmlformats-officedocument.drawingml.chart+xml"/>
  <Override PartName="/ppt/tags/tag224.xml" ContentType="application/vnd.openxmlformats-officedocument.presentationml.tags+xml"/>
  <Override PartName="/ppt/notesSlides/notesSlide127.xml" ContentType="application/vnd.openxmlformats-officedocument.presentationml.notesSlide+xml"/>
  <Override PartName="/ppt/charts/chart171.xml" ContentType="application/vnd.openxmlformats-officedocument.drawingml.chart+xml"/>
  <Override PartName="/ppt/tags/tag225.xml" ContentType="application/vnd.openxmlformats-officedocument.presentationml.tags+xml"/>
  <Override PartName="/ppt/notesSlides/notesSlide128.xml" ContentType="application/vnd.openxmlformats-officedocument.presentationml.notesSlide+xml"/>
  <Override PartName="/ppt/charts/chart172.xml" ContentType="application/vnd.openxmlformats-officedocument.drawingml.chart+xml"/>
  <Override PartName="/ppt/tags/tag226.xml" ContentType="application/vnd.openxmlformats-officedocument.presentationml.tags+xml"/>
  <Override PartName="/ppt/notesSlides/notesSlide129.xml" ContentType="application/vnd.openxmlformats-officedocument.presentationml.notesSlide+xml"/>
  <Override PartName="/ppt/charts/chart173.xml" ContentType="application/vnd.openxmlformats-officedocument.drawingml.chart+xml"/>
  <Override PartName="/ppt/tags/tag227.xml" ContentType="application/vnd.openxmlformats-officedocument.presentationml.tags+xml"/>
  <Override PartName="/ppt/notesSlides/notesSlide130.xml" ContentType="application/vnd.openxmlformats-officedocument.presentationml.notesSlide+xml"/>
  <Override PartName="/ppt/charts/chart174.xml" ContentType="application/vnd.openxmlformats-officedocument.drawingml.chart+xml"/>
  <Override PartName="/ppt/tags/tag228.xml" ContentType="application/vnd.openxmlformats-officedocument.presentationml.tags+xml"/>
  <Override PartName="/ppt/notesSlides/notesSlide131.xml" ContentType="application/vnd.openxmlformats-officedocument.presentationml.notesSlide+xml"/>
  <Override PartName="/ppt/charts/chart175.xml" ContentType="application/vnd.openxmlformats-officedocument.drawingml.chart+xml"/>
  <Override PartName="/ppt/tags/tag229.xml" ContentType="application/vnd.openxmlformats-officedocument.presentationml.tags+xml"/>
  <Override PartName="/ppt/notesSlides/notesSlide132.xml" ContentType="application/vnd.openxmlformats-officedocument.presentationml.notesSlide+xml"/>
  <Override PartName="/ppt/charts/chart176.xml" ContentType="application/vnd.openxmlformats-officedocument.drawingml.chart+xml"/>
  <Override PartName="/ppt/tags/tag230.xml" ContentType="application/vnd.openxmlformats-officedocument.presentationml.tags+xml"/>
  <Override PartName="/ppt/notesSlides/notesSlide133.xml" ContentType="application/vnd.openxmlformats-officedocument.presentationml.notesSlide+xml"/>
  <Override PartName="/ppt/charts/chart177.xml" ContentType="application/vnd.openxmlformats-officedocument.drawingml.chart+xml"/>
  <Override PartName="/ppt/tags/tag231.xml" ContentType="application/vnd.openxmlformats-officedocument.presentationml.tags+xml"/>
  <Override PartName="/ppt/notesSlides/notesSlide134.xml" ContentType="application/vnd.openxmlformats-officedocument.presentationml.notesSlide+xml"/>
  <Override PartName="/ppt/charts/chart178.xml" ContentType="application/vnd.openxmlformats-officedocument.drawingml.chart+xml"/>
  <Override PartName="/ppt/tags/tag232.xml" ContentType="application/vnd.openxmlformats-officedocument.presentationml.tags+xml"/>
  <Override PartName="/ppt/notesSlides/notesSlide135.xml" ContentType="application/vnd.openxmlformats-officedocument.presentationml.notesSlide+xml"/>
  <Override PartName="/ppt/charts/chart179.xml" ContentType="application/vnd.openxmlformats-officedocument.drawingml.chart+xml"/>
  <Override PartName="/ppt/tags/tag233.xml" ContentType="application/vnd.openxmlformats-officedocument.presentationml.tags+xml"/>
  <Override PartName="/ppt/notesSlides/notesSlide136.xml" ContentType="application/vnd.openxmlformats-officedocument.presentationml.notesSlide+xml"/>
  <Override PartName="/ppt/charts/chart180.xml" ContentType="application/vnd.openxmlformats-officedocument.drawingml.chart+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219"/>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 id="2147475327" r:id="rId163"/>
    <p:sldId id="2147475328" r:id="rId164"/>
    <p:sldId id="2147475329" r:id="rId165"/>
    <p:sldId id="2147475330" r:id="rId166"/>
    <p:sldId id="2147475331" r:id="rId167"/>
    <p:sldId id="2147475332" r:id="rId168"/>
    <p:sldId id="2147475333" r:id="rId169"/>
    <p:sldId id="2147475334" r:id="rId170"/>
    <p:sldId id="2147475335" r:id="rId171"/>
    <p:sldId id="2147475336" r:id="rId172"/>
    <p:sldId id="2147475337" r:id="rId173"/>
    <p:sldId id="2147475338" r:id="rId174"/>
    <p:sldId id="2147475339" r:id="rId175"/>
    <p:sldId id="2147475340" r:id="rId176"/>
    <p:sldId id="2147475341" r:id="rId177"/>
    <p:sldId id="2147475342" r:id="rId178"/>
    <p:sldId id="2147475343" r:id="rId179"/>
    <p:sldId id="2147475344" r:id="rId180"/>
    <p:sldId id="2147475345" r:id="rId181"/>
    <p:sldId id="2147475346" r:id="rId182"/>
    <p:sldId id="2147475347" r:id="rId183"/>
    <p:sldId id="2147475348" r:id="rId184"/>
    <p:sldId id="2147475349" r:id="rId185"/>
    <p:sldId id="2147475350" r:id="rId186"/>
    <p:sldId id="2147475351" r:id="rId187"/>
    <p:sldId id="2147475352" r:id="rId188"/>
    <p:sldId id="2147475353" r:id="rId189"/>
    <p:sldId id="2147475354" r:id="rId190"/>
    <p:sldId id="2147475355" r:id="rId191"/>
    <p:sldId id="2147475356" r:id="rId192"/>
    <p:sldId id="2147475357" r:id="rId193"/>
    <p:sldId id="2147475358" r:id="rId194"/>
    <p:sldId id="2147475359" r:id="rId195"/>
    <p:sldId id="2147475360" r:id="rId196"/>
    <p:sldId id="2147475361" r:id="rId197"/>
    <p:sldId id="2147475362" r:id="rId198"/>
    <p:sldId id="2147475363" r:id="rId199"/>
    <p:sldId id="2147475364" r:id="rId200"/>
    <p:sldId id="2147475365" r:id="rId201"/>
    <p:sldId id="2147475366" r:id="rId202"/>
    <p:sldId id="2147475367" r:id="rId203"/>
    <p:sldId id="2147475368" r:id="rId204"/>
    <p:sldId id="2147475369" r:id="rId205"/>
    <p:sldId id="2147475370" r:id="rId206"/>
    <p:sldId id="2147475371" r:id="rId207"/>
    <p:sldId id="2147475372" r:id="rId208"/>
    <p:sldId id="2147475373" r:id="rId209"/>
    <p:sldId id="2147475374" r:id="rId210"/>
    <p:sldId id="2147475375" r:id="rId211"/>
    <p:sldId id="2147475376" r:id="rId212"/>
    <p:sldId id="2147475377" r:id="rId213"/>
    <p:sldId id="2147475378" r:id="rId214"/>
    <p:sldId id="2147475379" r:id="rId215"/>
    <p:sldId id="2147475380" r:id="rId216"/>
    <p:sldId id="2147475381" r:id="rId217"/>
    <p:sldId id="2147475382" r:id="rId21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ix Analysis by Retailer for Region" id="{1939218D-CD3F-4254-AA98-FD7079A80D73}">
          <p14:sldIdLst>
            <p14:sldId id="2147475169"/>
            <p14:sldId id="2147475170"/>
            <p14:sldId id="2147475171"/>
            <p14:sldId id="2147475172"/>
            <p14:sldId id="2147475173"/>
          </p14:sldIdLst>
        </p14:section>
        <p14:section name="Mix Analysis by Retailer for Market" id="{B333848F-41CE-4847-9A06-057351706C48}">
          <p14:sldIdLst>
            <p14:sldId id="2147475174"/>
            <p14:sldId id="2147475175"/>
            <p14:sldId id="2147475176"/>
            <p14:sldId id="2147475177"/>
            <p14:sldId id="2147475178"/>
          </p14:sldIdLst>
        </p14:section>
        <p14:section name="Mix Analysis by Sector" id="{BC7032C1-9B59-48C6-BBC5-2A3CD69C07D9}">
          <p14:sldIdLst>
            <p14:sldId id="2147475179"/>
            <p14:sldId id="2147475180"/>
            <p14:sldId id="2147475181"/>
            <p14:sldId id="2147475182"/>
          </p14:sldIdLst>
        </p14:section>
        <p14:section name="Mix Analysis by Segment" id="{08DF83D2-97AB-4128-85E5-4F7285AAD4B1}">
          <p14:sldIdLst>
            <p14:sldId id="2147475183"/>
            <p14:sldId id="2147475184"/>
            <p14:sldId id="2147475185"/>
            <p14:sldId id="2147475186"/>
          </p14:sldIdLst>
        </p14:section>
        <p14:section name="Mix Analysis bySKU" id="{2D8720AB-E5C5-445E-B5EF-921EB4450DFD}">
          <p14:sldIdLst>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Lst>
        </p14:section>
        <p14:section name="Trade Margin Analysis by Sector" id="{2994744C-9311-4D73-86AE-9B32068F508E}">
          <p14:sldIdLst>
            <p14:sldId id="2147475207"/>
            <p14:sldId id="2147475208"/>
            <p14:sldId id="2147475209"/>
            <p14:sldId id="2147475210"/>
            <p14:sldId id="2147475211"/>
            <p14:sldId id="2147475212"/>
            <p14:sldId id="2147475213"/>
            <p14:sldId id="2147475214"/>
            <p14:sldId id="2147475215"/>
          </p14:sldIdLst>
        </p14:section>
        <p14:section name="Trade Margin Analysis by Segment" id="{2DFEAFF6-F2E0-4D2A-B0E2-1204757A3323}">
          <p14:sldIdLst>
            <p14:sldId id="2147475216"/>
            <p14:sldId id="2147475217"/>
            <p14:sldId id="2147475218"/>
            <p14:sldId id="2147475219"/>
            <p14:sldId id="2147475220"/>
            <p14:sldId id="2147475221"/>
            <p14:sldId id="2147475222"/>
            <p14:sldId id="2147475223"/>
            <p14:sldId id="2147475224"/>
          </p14:sldIdLst>
        </p14:section>
        <p14:section name="SKU KPIs Summary By Manufacture" id="{BAD5684A-C1B1-4D26-B154-AC055B3BB445}">
          <p14:sldIdLst>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Lst>
        </p14:section>
        <p14:section name="SKU KPIs Summary By Brand" id="{2BE0D46A-D68C-4394-8B83-3CDC77F1E627}">
          <p14:sldIdLst>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Lst>
        </p14:section>
        <p14:section name="Mix Matrix By Retailer" id="{ED175E98-713C-4D13-9CD5-910E6EB537FB}">
          <p14:sldIdLst>
            <p14:sldId id="2147475265"/>
            <p14:sldId id="2147475266"/>
            <p14:sldId id="2147475267"/>
            <p14:sldId id="2147475268"/>
          </p14:sldIdLst>
        </p14:section>
        <p14:section name="Mix Matrix By Custom Region" id="{CC49F49F-3184-40E8-9451-65AB727F9B8E}">
          <p14:sldIdLst>
            <p14:sldId id="2147475269"/>
            <p14:sldId id="2147475270"/>
          </p14:sldIdLst>
        </p14:section>
        <p14:section name="Mix Matrix By Brands by Sector" id="{AA85F07F-6F55-47FB-B517-464FF9F06184}">
          <p14:sldIdLst>
            <p14:sldId id="2147475271"/>
            <p14:sldId id="2147475272"/>
            <p14:sldId id="2147475273"/>
            <p14:sldId id="2147475274"/>
            <p14:sldId id="2147475275"/>
            <p14:sldId id="2147475276"/>
            <p14:sldId id="2147475277"/>
            <p14:sldId id="2147475278"/>
          </p14:sldIdLst>
        </p14:section>
        <p14:section name="Mix Matrix By Brands by Segment" id="{3D65ABE5-D006-4540-A599-E446F8B78DDC}">
          <p14:sldIdLst>
            <p14:sldId id="2147475279"/>
            <p14:sldId id="2147475280"/>
            <p14:sldId id="2147475281"/>
            <p14:sldId id="2147475282"/>
            <p14:sldId id="2147475283"/>
            <p14:sldId id="2147475284"/>
            <p14:sldId id="2147475285"/>
            <p14:sldId id="2147475286"/>
          </p14:sldIdLst>
        </p14:section>
        <p14:section name="Sector Spending Pool" id="{A100C5F4-F4C7-40F8-9CEA-E7F4B1D24A45}">
          <p14:sldIdLst>
            <p14:sldId id="2147475287"/>
            <p14:sldId id="2147475288"/>
            <p14:sldId id="2147475289"/>
            <p14:sldId id="2147475290"/>
          </p14:sldIdLst>
        </p14:section>
        <p14:section name="Segment Spending Pool" id="{EB3325C2-D7FB-4899-B458-E34A0CA6C887}">
          <p14:sldIdLst>
            <p14:sldId id="2147475291"/>
            <p14:sldId id="2147475292"/>
            <p14:sldId id="2147475293"/>
            <p14:sldId id="2147475294"/>
          </p14:sldIdLst>
        </p14:section>
        <p14:section name="Product Spending Pool" id="{A3D74257-795F-4FFB-94BD-B575FD55DD23}">
          <p14:sldIdLst>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Lst>
        </p14:section>
        <p14:section name="SKU Profitability" id="{0B515E5C-B6F3-4B1A-A9EC-D67C04C9C1D5}">
          <p14:sldIdLst>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Lst>
        </p14:section>
        <p14:section name="Trade Margin Table By Sector" id="{3171D540-10C7-4F33-A379-47C616FF2887}">
          <p14:sldIdLst>
            <p14:sldId id="2147475375"/>
            <p14:sldId id="2147475376"/>
            <p14:sldId id="2147475377"/>
            <p14:sldId id="2147475378"/>
          </p14:sldIdLst>
        </p14:section>
        <p14:section name="Trade Margin Table By Segment" id="{3F25059E-6267-4DBA-9C76-4AD9245BBACC}">
          <p14:sldIdLst>
            <p14:sldId id="2147475379"/>
            <p14:sldId id="2147475380"/>
            <p14:sldId id="2147475381"/>
            <p14:sldId id="214747538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6D"/>
    <a:srgbClr val="7ECAC4"/>
    <a:srgbClr val="FF8080"/>
    <a:srgbClr val="FFBFBF"/>
    <a:srgbClr val="00A097"/>
    <a:srgbClr val="7DC9C4"/>
    <a:srgbClr val="A6DAD6"/>
    <a:srgbClr val="FFFFFF"/>
    <a:srgbClr val="C00000"/>
    <a:srgbClr val="8DCFC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13" Type="http://schemas.openxmlformats.org/officeDocument/2006/relationships/slide" Target="slides/slide9.xml"/><Relationship Id="rId109" Type="http://schemas.openxmlformats.org/officeDocument/2006/relationships/slide" Target="slides/slide105.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notesMaster" Target="notesMasters/notesMaster1.xml"/><Relationship Id="rId3" Type="http://schemas.openxmlformats.org/officeDocument/2006/relationships/customXml" Target="../customXml/item3.xml"/><Relationship Id="rId214" Type="http://schemas.openxmlformats.org/officeDocument/2006/relationships/slide" Target="slides/slide210.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slide" Target="slides/slide175.xml"/><Relationship Id="rId195" Type="http://schemas.openxmlformats.org/officeDocument/2006/relationships/slide" Target="slides/slide191.xml"/><Relationship Id="rId209" Type="http://schemas.openxmlformats.org/officeDocument/2006/relationships/slide" Target="slides/slide205.xml"/><Relationship Id="rId190" Type="http://schemas.openxmlformats.org/officeDocument/2006/relationships/slide" Target="slides/slide186.xml"/><Relationship Id="rId204" Type="http://schemas.openxmlformats.org/officeDocument/2006/relationships/slide" Target="slides/slide200.xml"/><Relationship Id="rId220" Type="http://schemas.openxmlformats.org/officeDocument/2006/relationships/presProps" Target="presProps.xml"/><Relationship Id="rId225" Type="http://schemas.microsoft.com/office/2018/10/relationships/authors" Target="author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slide" Target="slides/slide181.xml"/><Relationship Id="rId4" Type="http://schemas.openxmlformats.org/officeDocument/2006/relationships/slideMaster" Target="slideMasters/slideMaster1.xml"/><Relationship Id="rId9" Type="http://schemas.openxmlformats.org/officeDocument/2006/relationships/slide" Target="slides/slide5.xml"/><Relationship Id="rId180" Type="http://schemas.openxmlformats.org/officeDocument/2006/relationships/slide" Target="slides/slide176.xml"/><Relationship Id="rId210" Type="http://schemas.openxmlformats.org/officeDocument/2006/relationships/slide" Target="slides/slide206.xml"/><Relationship Id="rId215" Type="http://schemas.openxmlformats.org/officeDocument/2006/relationships/slide" Target="slides/slide211.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viewProps" Target="viewProps.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theme" Target="theme/theme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12" Type="http://schemas.openxmlformats.org/officeDocument/2006/relationships/slide" Target="slides/slide208.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tableStyles" Target="tableStyles.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 Type="http://schemas.openxmlformats.org/officeDocument/2006/relationships/customXml" Target="../customXml/item2.xml"/><Relationship Id="rId29" Type="http://schemas.openxmlformats.org/officeDocument/2006/relationships/slide" Target="slides/slide25.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microsoft.com/office/2015/10/relationships/revisionInfo" Target="revisionInfo.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8.xml"/><Relationship Id="rId1" Type="http://schemas.microsoft.com/office/2011/relationships/chartStyle" Target="style8.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9.xml"/><Relationship Id="rId1" Type="http://schemas.microsoft.com/office/2011/relationships/chartStyle" Target="style9.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0.xml"/><Relationship Id="rId1" Type="http://schemas.microsoft.com/office/2011/relationships/chartStyle" Target="style10.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1.xml"/><Relationship Id="rId1" Type="http://schemas.microsoft.com/office/2011/relationships/chartStyle" Target="style11.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2.xml"/><Relationship Id="rId1" Type="http://schemas.microsoft.com/office/2011/relationships/chartStyle" Target="style12.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3.xml"/><Relationship Id="rId1" Type="http://schemas.microsoft.com/office/2011/relationships/chartStyle" Target="style13.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4.xml"/><Relationship Id="rId1" Type="http://schemas.microsoft.com/office/2011/relationships/chartStyle" Target="style14.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5.xml"/><Relationship Id="rId1" Type="http://schemas.microsoft.com/office/2011/relationships/chartStyle" Target="style15.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6.xml"/><Relationship Id="rId1" Type="http://schemas.microsoft.com/office/2011/relationships/chartStyle" Target="style16.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7.xml"/><Relationship Id="rId1" Type="http://schemas.microsoft.com/office/2011/relationships/chartStyle" Target="style17.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3" Type="http://schemas.openxmlformats.org/officeDocument/2006/relationships/package" Target="../embeddings/Microsoft_Excel_Worksheet109.xlsx"/><Relationship Id="rId2" Type="http://schemas.microsoft.com/office/2011/relationships/chartColorStyle" Target="colors18.xml"/><Relationship Id="rId1" Type="http://schemas.microsoft.com/office/2011/relationships/chartStyle" Target="style18.xml"/></Relationships>
</file>

<file path=ppt/charts/_rels/chart111.xml.rels><?xml version="1.0" encoding="UTF-8" standalone="yes"?>
<Relationships xmlns="http://schemas.openxmlformats.org/package/2006/relationships"><Relationship Id="rId3" Type="http://schemas.openxmlformats.org/officeDocument/2006/relationships/package" Target="../embeddings/Microsoft_Excel_Worksheet110.xlsx"/><Relationship Id="rId2" Type="http://schemas.microsoft.com/office/2011/relationships/chartColorStyle" Target="colors19.xml"/><Relationship Id="rId1" Type="http://schemas.microsoft.com/office/2011/relationships/chartStyle" Target="style19.xml"/></Relationships>
</file>

<file path=ppt/charts/_rels/chart112.xml.rels><?xml version="1.0" encoding="UTF-8" standalone="yes"?>
<Relationships xmlns="http://schemas.openxmlformats.org/package/2006/relationships"><Relationship Id="rId3" Type="http://schemas.openxmlformats.org/officeDocument/2006/relationships/package" Target="../embeddings/Microsoft_Excel_Worksheet111.xlsx"/><Relationship Id="rId2" Type="http://schemas.microsoft.com/office/2011/relationships/chartColorStyle" Target="colors20.xml"/><Relationship Id="rId1" Type="http://schemas.microsoft.com/office/2011/relationships/chartStyle" Target="style20.xml"/></Relationships>
</file>

<file path=ppt/charts/_rels/chart113.xml.rels><?xml version="1.0" encoding="UTF-8" standalone="yes"?>
<Relationships xmlns="http://schemas.openxmlformats.org/package/2006/relationships"><Relationship Id="rId3" Type="http://schemas.openxmlformats.org/officeDocument/2006/relationships/package" Target="../embeddings/Microsoft_Excel_Worksheet112.xlsx"/><Relationship Id="rId2" Type="http://schemas.microsoft.com/office/2011/relationships/chartColorStyle" Target="colors21.xml"/><Relationship Id="rId1" Type="http://schemas.microsoft.com/office/2011/relationships/chartStyle" Target="style21.xml"/></Relationships>
</file>

<file path=ppt/charts/_rels/chart114.xml.rels><?xml version="1.0" encoding="UTF-8" standalone="yes"?>
<Relationships xmlns="http://schemas.openxmlformats.org/package/2006/relationships"><Relationship Id="rId3" Type="http://schemas.openxmlformats.org/officeDocument/2006/relationships/package" Target="../embeddings/Microsoft_Excel_Worksheet113.xlsx"/><Relationship Id="rId2" Type="http://schemas.microsoft.com/office/2011/relationships/chartColorStyle" Target="colors22.xml"/><Relationship Id="rId1" Type="http://schemas.microsoft.com/office/2011/relationships/chartStyle" Target="style22.xml"/></Relationships>
</file>

<file path=ppt/charts/_rels/chart115.xml.rels><?xml version="1.0" encoding="UTF-8" standalone="yes"?>
<Relationships xmlns="http://schemas.openxmlformats.org/package/2006/relationships"><Relationship Id="rId3" Type="http://schemas.openxmlformats.org/officeDocument/2006/relationships/package" Target="../embeddings/Microsoft_Excel_Worksheet114.xlsx"/><Relationship Id="rId2" Type="http://schemas.microsoft.com/office/2011/relationships/chartColorStyle" Target="colors23.xml"/><Relationship Id="rId1" Type="http://schemas.microsoft.com/office/2011/relationships/chartStyle" Target="style23.xml"/></Relationships>
</file>

<file path=ppt/charts/_rels/chart116.xml.rels><?xml version="1.0" encoding="UTF-8" standalone="yes"?>
<Relationships xmlns="http://schemas.openxmlformats.org/package/2006/relationships"><Relationship Id="rId3" Type="http://schemas.openxmlformats.org/officeDocument/2006/relationships/package" Target="../embeddings/Microsoft_Excel_Worksheet115.xlsx"/><Relationship Id="rId2" Type="http://schemas.microsoft.com/office/2011/relationships/chartColorStyle" Target="colors24.xml"/><Relationship Id="rId1" Type="http://schemas.microsoft.com/office/2011/relationships/chartStyle" Target="style24.xml"/></Relationships>
</file>

<file path=ppt/charts/_rels/chart117.xml.rels><?xml version="1.0" encoding="UTF-8" standalone="yes"?>
<Relationships xmlns="http://schemas.openxmlformats.org/package/2006/relationships"><Relationship Id="rId3" Type="http://schemas.openxmlformats.org/officeDocument/2006/relationships/package" Target="../embeddings/Microsoft_Excel_Worksheet116.xlsx"/><Relationship Id="rId2" Type="http://schemas.microsoft.com/office/2011/relationships/chartColorStyle" Target="colors25.xml"/><Relationship Id="rId1" Type="http://schemas.microsoft.com/office/2011/relationships/chartStyle" Target="style25.xml"/></Relationships>
</file>

<file path=ppt/charts/_rels/chart118.xml.rels><?xml version="1.0" encoding="UTF-8" standalone="yes"?>
<Relationships xmlns="http://schemas.openxmlformats.org/package/2006/relationships"><Relationship Id="rId3" Type="http://schemas.openxmlformats.org/officeDocument/2006/relationships/package" Target="../embeddings/Microsoft_Excel_Worksheet117.xlsx"/><Relationship Id="rId2" Type="http://schemas.microsoft.com/office/2011/relationships/chartColorStyle" Target="colors26.xml"/><Relationship Id="rId1" Type="http://schemas.microsoft.com/office/2011/relationships/chartStyle" Target="style26.xml"/></Relationships>
</file>

<file path=ppt/charts/_rels/chart119.xml.rels><?xml version="1.0" encoding="UTF-8" standalone="yes"?>
<Relationships xmlns="http://schemas.openxmlformats.org/package/2006/relationships"><Relationship Id="rId3" Type="http://schemas.openxmlformats.org/officeDocument/2006/relationships/package" Target="../embeddings/Microsoft_Excel_Worksheet118.xlsx"/><Relationship Id="rId2" Type="http://schemas.microsoft.com/office/2011/relationships/chartColorStyle" Target="colors27.xml"/><Relationship Id="rId1" Type="http://schemas.microsoft.com/office/2011/relationships/chartStyle" Target="style27.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3" Type="http://schemas.openxmlformats.org/officeDocument/2006/relationships/package" Target="../embeddings/Microsoft_Excel_Worksheet119.xlsx"/><Relationship Id="rId2" Type="http://schemas.microsoft.com/office/2011/relationships/chartColorStyle" Target="colors28.xml"/><Relationship Id="rId1" Type="http://schemas.microsoft.com/office/2011/relationships/chartStyle" Target="style28.xml"/></Relationships>
</file>

<file path=ppt/charts/_rels/chart121.xml.rels><?xml version="1.0" encoding="UTF-8" standalone="yes"?>
<Relationships xmlns="http://schemas.openxmlformats.org/package/2006/relationships"><Relationship Id="rId3" Type="http://schemas.openxmlformats.org/officeDocument/2006/relationships/package" Target="../embeddings/Microsoft_Excel_Worksheet120.xlsx"/><Relationship Id="rId2" Type="http://schemas.microsoft.com/office/2011/relationships/chartColorStyle" Target="colors29.xml"/><Relationship Id="rId1" Type="http://schemas.microsoft.com/office/2011/relationships/chartStyle" Target="style29.xml"/></Relationships>
</file>

<file path=ppt/charts/_rels/chart122.xml.rels><?xml version="1.0" encoding="UTF-8" standalone="yes"?>
<Relationships xmlns="http://schemas.openxmlformats.org/package/2006/relationships"><Relationship Id="rId3" Type="http://schemas.openxmlformats.org/officeDocument/2006/relationships/package" Target="../embeddings/Microsoft_Excel_Worksheet121.xlsx"/><Relationship Id="rId2" Type="http://schemas.microsoft.com/office/2011/relationships/chartColorStyle" Target="colors30.xml"/><Relationship Id="rId1" Type="http://schemas.microsoft.com/office/2011/relationships/chartStyle" Target="style30.xml"/></Relationships>
</file>

<file path=ppt/charts/_rels/chart123.xml.rels><?xml version="1.0" encoding="UTF-8" standalone="yes"?>
<Relationships xmlns="http://schemas.openxmlformats.org/package/2006/relationships"><Relationship Id="rId3" Type="http://schemas.openxmlformats.org/officeDocument/2006/relationships/package" Target="../embeddings/Microsoft_Excel_Worksheet122.xlsx"/><Relationship Id="rId2" Type="http://schemas.microsoft.com/office/2011/relationships/chartColorStyle" Target="colors31.xml"/><Relationship Id="rId1" Type="http://schemas.microsoft.com/office/2011/relationships/chartStyle" Target="style31.xml"/></Relationships>
</file>

<file path=ppt/charts/_rels/chart124.xml.rels><?xml version="1.0" encoding="UTF-8" standalone="yes"?>
<Relationships xmlns="http://schemas.openxmlformats.org/package/2006/relationships"><Relationship Id="rId3" Type="http://schemas.openxmlformats.org/officeDocument/2006/relationships/package" Target="../embeddings/Microsoft_Excel_Worksheet123.xlsx"/><Relationship Id="rId2" Type="http://schemas.microsoft.com/office/2011/relationships/chartColorStyle" Target="colors32.xml"/><Relationship Id="rId1" Type="http://schemas.microsoft.com/office/2011/relationships/chartStyle" Target="style32.xml"/></Relationships>
</file>

<file path=ppt/charts/_rels/chart125.xml.rels><?xml version="1.0" encoding="UTF-8" standalone="yes"?>
<Relationships xmlns="http://schemas.openxmlformats.org/package/2006/relationships"><Relationship Id="rId3" Type="http://schemas.openxmlformats.org/officeDocument/2006/relationships/package" Target="../embeddings/Microsoft_Excel_Worksheet124.xlsx"/><Relationship Id="rId2" Type="http://schemas.microsoft.com/office/2011/relationships/chartColorStyle" Target="colors33.xml"/><Relationship Id="rId1" Type="http://schemas.microsoft.com/office/2011/relationships/chartStyle" Target="style33.xml"/></Relationships>
</file>

<file path=ppt/charts/_rels/chart126.xml.rels><?xml version="1.0" encoding="UTF-8" standalone="yes"?>
<Relationships xmlns="http://schemas.openxmlformats.org/package/2006/relationships"><Relationship Id="rId3" Type="http://schemas.openxmlformats.org/officeDocument/2006/relationships/package" Target="../embeddings/Microsoft_Excel_Worksheet125.xlsx"/><Relationship Id="rId2" Type="http://schemas.microsoft.com/office/2011/relationships/chartColorStyle" Target="colors34.xml"/><Relationship Id="rId1" Type="http://schemas.microsoft.com/office/2011/relationships/chartStyle" Target="style34.xml"/></Relationships>
</file>

<file path=ppt/charts/_rels/chart127.xml.rels><?xml version="1.0" encoding="UTF-8" standalone="yes"?>
<Relationships xmlns="http://schemas.openxmlformats.org/package/2006/relationships"><Relationship Id="rId3" Type="http://schemas.openxmlformats.org/officeDocument/2006/relationships/package" Target="../embeddings/Microsoft_Excel_Worksheet126.xlsx"/><Relationship Id="rId2" Type="http://schemas.microsoft.com/office/2011/relationships/chartColorStyle" Target="colors35.xml"/><Relationship Id="rId1" Type="http://schemas.microsoft.com/office/2011/relationships/chartStyle" Target="style35.xml"/></Relationships>
</file>

<file path=ppt/charts/_rels/chart128.xml.rels><?xml version="1.0" encoding="UTF-8" standalone="yes"?>
<Relationships xmlns="http://schemas.openxmlformats.org/package/2006/relationships"><Relationship Id="rId3" Type="http://schemas.openxmlformats.org/officeDocument/2006/relationships/package" Target="../embeddings/Microsoft_Excel_Worksheet127.xlsx"/><Relationship Id="rId2" Type="http://schemas.microsoft.com/office/2011/relationships/chartColorStyle" Target="colors36.xml"/><Relationship Id="rId1" Type="http://schemas.microsoft.com/office/2011/relationships/chartStyle" Target="style36.xml"/></Relationships>
</file>

<file path=ppt/charts/_rels/chart129.xml.rels><?xml version="1.0" encoding="UTF-8" standalone="yes"?>
<Relationships xmlns="http://schemas.openxmlformats.org/package/2006/relationships"><Relationship Id="rId3" Type="http://schemas.openxmlformats.org/officeDocument/2006/relationships/package" Target="../embeddings/Microsoft_Excel_Worksheet128.xlsx"/><Relationship Id="rId2" Type="http://schemas.microsoft.com/office/2011/relationships/chartColorStyle" Target="colors37.xml"/><Relationship Id="rId1" Type="http://schemas.microsoft.com/office/2011/relationships/chartStyle" Target="style37.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3" Type="http://schemas.openxmlformats.org/officeDocument/2006/relationships/package" Target="../embeddings/Microsoft_Excel_Worksheet129.xlsx"/><Relationship Id="rId2" Type="http://schemas.microsoft.com/office/2011/relationships/chartColorStyle" Target="colors38.xml"/><Relationship Id="rId1" Type="http://schemas.microsoft.com/office/2011/relationships/chartStyle" Target="style38.xml"/></Relationships>
</file>

<file path=ppt/charts/_rels/chart131.xml.rels><?xml version="1.0" encoding="UTF-8" standalone="yes"?>
<Relationships xmlns="http://schemas.openxmlformats.org/package/2006/relationships"><Relationship Id="rId3" Type="http://schemas.openxmlformats.org/officeDocument/2006/relationships/package" Target="../embeddings/Microsoft_Excel_Worksheet130.xlsx"/><Relationship Id="rId2" Type="http://schemas.microsoft.com/office/2011/relationships/chartColorStyle" Target="colors39.xml"/><Relationship Id="rId1" Type="http://schemas.microsoft.com/office/2011/relationships/chartStyle" Target="style39.xml"/></Relationships>
</file>

<file path=ppt/charts/_rels/chart132.xml.rels><?xml version="1.0" encoding="UTF-8" standalone="yes"?>
<Relationships xmlns="http://schemas.openxmlformats.org/package/2006/relationships"><Relationship Id="rId3" Type="http://schemas.openxmlformats.org/officeDocument/2006/relationships/package" Target="../embeddings/Microsoft_Excel_Worksheet131.xlsx"/><Relationship Id="rId2" Type="http://schemas.microsoft.com/office/2011/relationships/chartColorStyle" Target="colors40.xml"/><Relationship Id="rId1" Type="http://schemas.microsoft.com/office/2011/relationships/chartStyle" Target="style40.xml"/></Relationships>
</file>

<file path=ppt/charts/_rels/chart133.xml.rels><?xml version="1.0" encoding="UTF-8" standalone="yes"?>
<Relationships xmlns="http://schemas.openxmlformats.org/package/2006/relationships"><Relationship Id="rId3" Type="http://schemas.openxmlformats.org/officeDocument/2006/relationships/package" Target="../embeddings/Microsoft_Excel_Worksheet132.xlsx"/><Relationship Id="rId2" Type="http://schemas.microsoft.com/office/2011/relationships/chartColorStyle" Target="colors41.xml"/><Relationship Id="rId1" Type="http://schemas.microsoft.com/office/2011/relationships/chartStyle" Target="style41.xml"/></Relationships>
</file>

<file path=ppt/charts/_rels/chart134.xml.rels><?xml version="1.0" encoding="UTF-8" standalone="yes"?>
<Relationships xmlns="http://schemas.openxmlformats.org/package/2006/relationships"><Relationship Id="rId3" Type="http://schemas.openxmlformats.org/officeDocument/2006/relationships/package" Target="../embeddings/Microsoft_Excel_Worksheet133.xlsx"/><Relationship Id="rId2" Type="http://schemas.microsoft.com/office/2011/relationships/chartColorStyle" Target="colors42.xml"/><Relationship Id="rId1" Type="http://schemas.microsoft.com/office/2011/relationships/chartStyle" Target="style42.xml"/></Relationships>
</file>

<file path=ppt/charts/_rels/chart135.xml.rels><?xml version="1.0" encoding="UTF-8" standalone="yes"?>
<Relationships xmlns="http://schemas.openxmlformats.org/package/2006/relationships"><Relationship Id="rId3" Type="http://schemas.openxmlformats.org/officeDocument/2006/relationships/package" Target="../embeddings/Microsoft_Excel_Worksheet134.xlsx"/><Relationship Id="rId2" Type="http://schemas.microsoft.com/office/2011/relationships/chartColorStyle" Target="colors43.xml"/><Relationship Id="rId1" Type="http://schemas.microsoft.com/office/2011/relationships/chartStyle" Target="style43.xml"/></Relationships>
</file>

<file path=ppt/charts/_rels/chart136.xml.rels><?xml version="1.0" encoding="UTF-8" standalone="yes"?>
<Relationships xmlns="http://schemas.openxmlformats.org/package/2006/relationships"><Relationship Id="rId3" Type="http://schemas.openxmlformats.org/officeDocument/2006/relationships/package" Target="../embeddings/Microsoft_Excel_Worksheet135.xlsx"/><Relationship Id="rId2" Type="http://schemas.microsoft.com/office/2011/relationships/chartColorStyle" Target="colors44.xml"/><Relationship Id="rId1" Type="http://schemas.microsoft.com/office/2011/relationships/chartStyle" Target="style44.xml"/></Relationships>
</file>

<file path=ppt/charts/_rels/chart137.xml.rels><?xml version="1.0" encoding="UTF-8" standalone="yes"?>
<Relationships xmlns="http://schemas.openxmlformats.org/package/2006/relationships"><Relationship Id="rId3" Type="http://schemas.openxmlformats.org/officeDocument/2006/relationships/package" Target="../embeddings/Microsoft_Excel_Worksheet136.xlsx"/><Relationship Id="rId2" Type="http://schemas.microsoft.com/office/2011/relationships/chartColorStyle" Target="colors45.xml"/><Relationship Id="rId1" Type="http://schemas.microsoft.com/office/2011/relationships/chartStyle" Target="style45.xml"/></Relationships>
</file>

<file path=ppt/charts/_rels/chart138.xml.rels><?xml version="1.0" encoding="UTF-8" standalone="yes"?>
<Relationships xmlns="http://schemas.openxmlformats.org/package/2006/relationships"><Relationship Id="rId3" Type="http://schemas.openxmlformats.org/officeDocument/2006/relationships/package" Target="../embeddings/Microsoft_Excel_Worksheet137.xlsx"/><Relationship Id="rId2" Type="http://schemas.microsoft.com/office/2011/relationships/chartColorStyle" Target="colors46.xml"/><Relationship Id="rId1" Type="http://schemas.microsoft.com/office/2011/relationships/chartStyle" Target="style46.xml"/></Relationships>
</file>

<file path=ppt/charts/_rels/chart139.xml.rels><?xml version="1.0" encoding="UTF-8" standalone="yes"?>
<Relationships xmlns="http://schemas.openxmlformats.org/package/2006/relationships"><Relationship Id="rId3" Type="http://schemas.openxmlformats.org/officeDocument/2006/relationships/package" Target="../embeddings/Microsoft_Excel_Worksheet138.xlsx"/><Relationship Id="rId2" Type="http://schemas.microsoft.com/office/2011/relationships/chartColorStyle" Target="colors47.xml"/><Relationship Id="rId1" Type="http://schemas.microsoft.com/office/2011/relationships/chartStyle" Target="style47.xml"/></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3" Type="http://schemas.openxmlformats.org/officeDocument/2006/relationships/package" Target="../embeddings/Microsoft_Excel_Worksheet139.xlsx"/><Relationship Id="rId2" Type="http://schemas.microsoft.com/office/2011/relationships/chartColorStyle" Target="colors48.xml"/><Relationship Id="rId1" Type="http://schemas.microsoft.com/office/2011/relationships/chartStyle" Target="style48.xml"/></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2" Type="http://schemas.openxmlformats.org/officeDocument/2006/relationships/package" Target="../embeddings/Microsoft_Excel_Worksheet39.xlsx"/><Relationship Id="rId1" Type="http://schemas.openxmlformats.org/officeDocument/2006/relationships/themeOverride" Target="../theme/themeOverride2.xml"/></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2" Type="http://schemas.openxmlformats.org/officeDocument/2006/relationships/package" Target="../embeddings/Microsoft_Excel_Worksheet41.xlsx"/><Relationship Id="rId1" Type="http://schemas.openxmlformats.org/officeDocument/2006/relationships/themeOverride" Target="../theme/themeOverride3.xml"/></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4.xml"/></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2" Type="http://schemas.openxmlformats.org/officeDocument/2006/relationships/package" Target="../embeddings/Microsoft_Excel_Worksheet44.xlsx"/><Relationship Id="rId1" Type="http://schemas.openxmlformats.org/officeDocument/2006/relationships/themeOverride" Target="../theme/themeOverride5.xml"/></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6.xml"/></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2" Type="http://schemas.openxmlformats.org/officeDocument/2006/relationships/package" Target="../embeddings/Microsoft_Excel_Worksheet47.xlsx"/><Relationship Id="rId1" Type="http://schemas.openxmlformats.org/officeDocument/2006/relationships/themeOverride" Target="../theme/themeOverride7.xml"/></Relationships>
</file>

<file path=ppt/charts/_rels/chart49.xml.rels><?xml version="1.0" encoding="UTF-8" standalone="yes"?>
<Relationships xmlns="http://schemas.openxmlformats.org/package/2006/relationships"><Relationship Id="rId2" Type="http://schemas.openxmlformats.org/officeDocument/2006/relationships/package" Target="../embeddings/Microsoft_Excel_Worksheet48.xlsx"/><Relationship Id="rId1" Type="http://schemas.openxmlformats.org/officeDocument/2006/relationships/themeOverride" Target="../theme/themeOverride8.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9.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10.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2" Type="http://schemas.openxmlformats.org/officeDocument/2006/relationships/package" Target="../embeddings/Microsoft_Excel_Worksheet53.xlsx"/><Relationship Id="rId1" Type="http://schemas.openxmlformats.org/officeDocument/2006/relationships/themeOverride" Target="../theme/themeOverride11.xml"/></Relationships>
</file>

<file path=ppt/charts/_rels/chart55.xml.rels><?xml version="1.0" encoding="UTF-8" standalone="yes"?>
<Relationships xmlns="http://schemas.openxmlformats.org/package/2006/relationships"><Relationship Id="rId2" Type="http://schemas.openxmlformats.org/officeDocument/2006/relationships/package" Target="../embeddings/Microsoft_Excel_Worksheet54.xlsx"/><Relationship Id="rId1" Type="http://schemas.openxmlformats.org/officeDocument/2006/relationships/themeOverride" Target="../theme/themeOverride12.xml"/></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2" Type="http://schemas.openxmlformats.org/officeDocument/2006/relationships/package" Target="../embeddings/Microsoft_Excel_Worksheet56.xlsx"/><Relationship Id="rId1" Type="http://schemas.openxmlformats.org/officeDocument/2006/relationships/themeOverride" Target="../theme/themeOverride13.xml"/></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14.xml"/></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2" Type="http://schemas.openxmlformats.org/officeDocument/2006/relationships/package" Target="../embeddings/Microsoft_Excel_Worksheet59.xlsx"/><Relationship Id="rId1" Type="http://schemas.openxmlformats.org/officeDocument/2006/relationships/themeOverride" Target="../theme/themeOverride15.xml"/></Relationships>
</file>

<file path=ppt/charts/_rels/chart61.xml.rels><?xml version="1.0" encoding="UTF-8" standalone="yes"?>
<Relationships xmlns="http://schemas.openxmlformats.org/package/2006/relationships"><Relationship Id="rId2" Type="http://schemas.openxmlformats.org/officeDocument/2006/relationships/package" Target="../embeddings/Microsoft_Excel_Worksheet60.xlsx"/><Relationship Id="rId1" Type="http://schemas.openxmlformats.org/officeDocument/2006/relationships/themeOverride" Target="../theme/themeOverride16.xml"/></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1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1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1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2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2" Type="http://schemas.openxmlformats.org/officeDocument/2006/relationships/package" Target="../embeddings/Microsoft_Excel_Worksheet68.xlsx"/><Relationship Id="rId1" Type="http://schemas.openxmlformats.org/officeDocument/2006/relationships/themeOverride" Target="../theme/themeOverride21.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2" Type="http://schemas.openxmlformats.org/officeDocument/2006/relationships/package" Target="../embeddings/Microsoft_Excel_Worksheet69.xlsx"/><Relationship Id="rId1" Type="http://schemas.openxmlformats.org/officeDocument/2006/relationships/themeOverride" Target="../theme/themeOverride22.xml"/></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23.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24.xml"/></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2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26.xml"/></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27.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28.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29.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30.xml"/></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31.xml"/></Relationships>
</file>

<file path=ppt/charts/_rels/chart85.xml.rels><?xml version="1.0" encoding="UTF-8" standalone="yes"?>
<Relationships xmlns="http://schemas.openxmlformats.org/package/2006/relationships"><Relationship Id="rId2" Type="http://schemas.openxmlformats.org/officeDocument/2006/relationships/package" Target="../embeddings/Microsoft_Excel_Worksheet84.xlsx"/><Relationship Id="rId1" Type="http://schemas.openxmlformats.org/officeDocument/2006/relationships/themeOverride" Target="../theme/themeOverride32.xml"/></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33.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34.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35.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36.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3" Type="http://schemas.openxmlformats.org/officeDocument/2006/relationships/package" Target="../embeddings/Microsoft_Excel_Worksheet92.xlsx"/><Relationship Id="rId2" Type="http://schemas.microsoft.com/office/2011/relationships/chartColorStyle" Target="colors1.xml"/><Relationship Id="rId1" Type="http://schemas.microsoft.com/office/2011/relationships/chartStyle" Target="style1.xml"/></Relationships>
</file>

<file path=ppt/charts/_rels/chart94.xml.rels><?xml version="1.0" encoding="UTF-8" standalone="yes"?>
<Relationships xmlns="http://schemas.openxmlformats.org/package/2006/relationships"><Relationship Id="rId3" Type="http://schemas.openxmlformats.org/officeDocument/2006/relationships/package" Target="../embeddings/Microsoft_Excel_Worksheet93.xlsx"/><Relationship Id="rId2" Type="http://schemas.microsoft.com/office/2011/relationships/chartColorStyle" Target="colors2.xml"/><Relationship Id="rId1" Type="http://schemas.microsoft.com/office/2011/relationships/chartStyle" Target="style2.xml"/></Relationships>
</file>

<file path=ppt/charts/_rels/chart95.xml.rels><?xml version="1.0" encoding="UTF-8" standalone="yes"?>
<Relationships xmlns="http://schemas.openxmlformats.org/package/2006/relationships"><Relationship Id="rId3" Type="http://schemas.openxmlformats.org/officeDocument/2006/relationships/package" Target="../embeddings/Microsoft_Excel_Worksheet94.xlsx"/><Relationship Id="rId2" Type="http://schemas.microsoft.com/office/2011/relationships/chartColorStyle" Target="colors3.xml"/><Relationship Id="rId1" Type="http://schemas.microsoft.com/office/2011/relationships/chartStyle" Target="style3.xml"/></Relationships>
</file>

<file path=ppt/charts/_rels/chart96.xml.rels><?xml version="1.0" encoding="UTF-8" standalone="yes"?>
<Relationships xmlns="http://schemas.openxmlformats.org/package/2006/relationships"><Relationship Id="rId3" Type="http://schemas.openxmlformats.org/officeDocument/2006/relationships/package" Target="../embeddings/Microsoft_Excel_Worksheet95.xlsx"/><Relationship Id="rId2" Type="http://schemas.microsoft.com/office/2011/relationships/chartColorStyle" Target="colors4.xml"/><Relationship Id="rId1" Type="http://schemas.microsoft.com/office/2011/relationships/chartStyle" Target="style4.xml"/></Relationships>
</file>

<file path=ppt/charts/_rels/chart97.xml.rels><?xml version="1.0" encoding="UTF-8" standalone="yes"?>
<Relationships xmlns="http://schemas.openxmlformats.org/package/2006/relationships"><Relationship Id="rId3" Type="http://schemas.openxmlformats.org/officeDocument/2006/relationships/package" Target="../embeddings/Microsoft_Excel_Worksheet96.xlsx"/><Relationship Id="rId2" Type="http://schemas.microsoft.com/office/2011/relationships/chartColorStyle" Target="colors5.xml"/><Relationship Id="rId1" Type="http://schemas.microsoft.com/office/2011/relationships/chartStyle" Target="style5.xml"/></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6.xml"/><Relationship Id="rId1" Type="http://schemas.microsoft.com/office/2011/relationships/chartStyle" Target="style6.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F0D6FDE-43F1-4641-ADA8-D4415E8AC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BDF96A3-3063-4EC0-8E70-2A682A311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F18FF43-0DFA-4358-875E-D648D1886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91EEB6B-5C21-4BBB-A0B1-A601D8333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7A86CC6-85BC-46BB-9EC3-A4283B0B1B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C04C39A-907F-44D9-8427-5271605F7C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193D411-6B60-4FE4-848E-A92CFE2B2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56F313D-A207-46C9-B92E-340A09422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D8D9C7A-E0BD-431E-8ADF-A3A11E49F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87202B1-F677-41F2-A932-F03D6AE23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D81C3EA-ECC6-4C61-8CD8-59E335F52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EDEF708-9E84-496D-A65B-6FB386338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96C9D84-6293-4793-9450-B1A32209E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8635394-3A3F-4F47-91CF-685BFB8A60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25808FA-D16F-48DC-B1C3-635E50462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75AE0A2-F64A-4253-A4CC-0FEE4D0875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8FF58B3-526C-4DA7-88CF-46EEB3273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22C731D-0EF6-4ABC-9B1D-C82B1AF29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221F975-CD69-46A6-B147-C440D8732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056F926-2FDD-464A-AB6C-87EAD6C7E3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09514DC-47B1-402E-9190-20AF552EA8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047BD6F-0015-4A01-BFD5-2786FAFCB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8399440-ECCB-42B1-9732-59805907D5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0912D87-1B98-42AD-8647-1B2358011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594CFB6-53DF-4BBE-8944-9CA1E4D61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D032A63-35F5-47FF-9792-DED8DB3A2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820EB15-F0E5-4E1C-8E0C-112F0AFA69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BE7CECE-FD09-4E27-9BF4-410DB64DB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7DDC946-FC29-4918-9E0D-F114F69B1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D616D58-4E7B-481B-88A1-4E25BEC07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5256C73-874A-4849-A613-A143C9EF90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AA47A7F-8BB1-4AC6-9386-4CF667324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4C1AD66-8A28-4A02-8F75-F113C7F07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95B7683-78D0-4215-A035-9879EB810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D5CDBF7-2548-4A30-A9B8-BC09F33F1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B5B7222-54CD-4A49-891E-97575604CF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24B9261-9B04-449D-838A-81B2C2CFBF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D778BF4-03B9-49C8-833A-169CAB2CF8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64BC14C-1A64-4FB3-AB73-60C091826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6B08991-0685-4B1B-87B0-0E476F9FB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47270FA-C879-48FD-BAED-0113A3965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6E91F53-C800-4AE7-9DAD-B344414131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CB183BA-C83D-4ECD-A2B7-5C80E12159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7334016-4E14-4222-A840-1772EBF58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E7685C1-927C-42A8-8D64-77C0B04D4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46B93E9-E153-4782-9CC7-BBA83EE7A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D22CD9E-379D-41CF-BF78-D1B2B8ADC1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C8CD3E9-894D-4329-BCEA-B2BFEB7D6A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FEBC13F-71B8-493F-BF9E-1A39B25BB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C3E6332D-AA68-4E48-9BE4-557F2C5CC8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55AA7D7-AD26-4CC4-A671-D3FAAB764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0A3BDD2-C93B-478E-86F3-756A0AD37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F00DFEB-DA9E-45AA-A7AB-D22C521201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4402AF2-8FC4-42D9-BAB9-D6F83E671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25443BA-BC44-4B7B-8B43-70A2438F3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C71086A-E86B-4F21-8B5D-5D4BE22A2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42C622D-EB29-444A-B534-0F55C6F19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6968D67-00F2-4402-8767-18BEF2F4A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F538FD5-4A1F-4435-92D5-87F5EDAD7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D2833C0-C1B6-446B-A66D-CEF2B112A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C1DCBA2-2BB8-49AE-9487-3854FF698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A813A76-97DE-4218-BBB5-98E7E2FBD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D76F8960-5011-415C-AA60-B08D419C66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D5C7B811-4C91-41BC-8D6B-45D39E6C99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A4C1D2A-C973-4F7B-9CB8-5B9C93BDB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51A0892-557B-4974-94CE-3542DB3705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75D99A6-B858-4924-9A8A-F79242C115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9BCF3D4-FE67-40FB-95FA-598B10B2A5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1AC44300-3C9C-4140-93E7-9CF1DC3CB8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F0B7FBC1-082B-4345-919B-5362C66841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65B1FBF-7A90-43E4-B931-31A22D72A6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FA98128-0291-45F2-83C7-545A89734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8FCFBD3-8627-49CB-959F-3964AAB212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94F20FB2-2C42-441A-A690-8B0413A08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A64851C4-93D9-4B64-9870-9E7D97489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345C1807-BC7A-4EC1-96CA-A39E81077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2FAFCB1B-AA8D-4509-BE64-A4A84503C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ACD00D0-3FD9-4D0F-A9E2-2C59A8C41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0364924-24BC-42EA-A178-6862D3FB1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4762B0FF-8C93-4F48-9B38-82F0F31A4F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D835C233-7A9D-4800-BE1E-B7D37B31A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2F74B1C-6D73-43AE-A874-95E755FD1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6046C74-0FA1-4E3B-9956-1E382BF06E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1DCDA217-EC9C-47B1-A648-C0DBEDD9D5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3A29A7B-29BE-4737-AECD-1315F5D17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11FDB92-4643-4C8F-93DA-B238E1A45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F0257BB-BA58-46EB-A393-C28C69F16E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2FBA3A8-A94A-404D-88B2-107E35724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E494E84-B0DD-4688-A040-425D8DA46E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19F53328-724E-4E49-A40E-48E7AAC191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2817C69-4810-46FC-9FFA-1B878A740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EBC5A318-694B-4842-828E-666F53CAB2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D382003-A67E-467A-8D83-DF7F18A21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EA2EC39-5673-4612-B015-F943D5DEA3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6EE89DF-C249-44BE-A6D4-0FBE143CE9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DDBA353-8708-4CAC-BD8B-85A7C515C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2A3EEE8-FE62-49EB-95F2-D8E9D6FDE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2EE11138-E741-4C32-9ECF-8DF799B9B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02A07DF-B84A-4921-A241-4438E5DDE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FF0EBFA-20E7-4E1D-B704-706B5D83D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03DFC555-7AB5-42C1-B7E5-7864873153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98DEF1A9-E025-4D8B-9674-031925DBA8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90FA3F70-8822-4398-B538-E3E307219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4CDD7F7-A755-41AD-8A4F-8D9E7C311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C0DA1B5-357A-4EEF-AD03-241FE35DC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FA23614-85E2-48D9-8619-684FF0319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54996CB-50E6-4A5E-AE2F-B5ECFD239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44480C7-A079-406F-A9CC-E4A862150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FE1C81D-4A05-489C-8FD7-AF1BC18C2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03C2201-80EF-4256-81DE-DA7526EDF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3AF8E7F-80E9-4A78-8896-0F72857CB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23B65AF-C664-446D-BB85-FC5A45C0A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0073EDC-E797-42F2-9B6E-52B43D1840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955DE39-DD6C-4EBD-A6C2-34D085D29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98153C5B-7466-4863-8893-0BDD4794C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215C527-6D3E-4BCC-95FF-B1B2EF1C3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EF21EE7-238F-4834-A7BE-BE578B9AF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10B914D-0AB9-48E0-AE25-BD66BB668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FF3A94F8-A4CE-4A11-9CEA-85DDFE60E9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F3A8B92-1E3B-44A5-AD8C-594E8E400D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D8FDA3DD-741D-47FF-8802-64E95C1A92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64A3F9B-2AA4-4906-83E5-0A06834FF7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EED017A-FCBA-41CD-A650-B26F27F24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B9BA0082-713C-4398-824A-3E3F65A28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B3406E90-0B6E-46C9-B4C8-25031780E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49FC1F2-4ECA-4404-8D89-CA0DB334F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CCE8A4FD-F797-4E50-AD3C-95E1C062C8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1EFD62A-C80D-4C56-AE3A-FD18335EB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41B2E16-56E2-45AF-B597-0AB463A832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F2FDE15-1460-4C41-B8EC-1B40EF31B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F2D60F5-B920-4CAA-A9CC-298CBCF86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E26B341-DCFA-4309-A0F6-3F8326FE2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974C869-BF39-46FC-A987-FC05EA08D1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0B7E9EEE-CF87-4D58-839F-F88D369A6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57BA0C1-4F90-42A7-BA06-6C808876C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854F397-8F31-4C76-B69D-C5A0E0654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365536F-497D-4701-A1F0-7E91C8784E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C2E34D1-D514-471C-AFEF-DE3F5B72F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2ACFD541-3D4F-43DC-A9B3-69CFEDEEE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DFD4914-2567-49DC-8001-6235A1E1D9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AD5FBBEE-4770-412D-97E1-9638F20AA0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1E71C9D-3DB9-47D4-8108-EE8DFCF0C4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2F1F433-32B9-4893-87E1-8A3F91F91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3F7166D-1CC1-4036-8E47-563AE8EFA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4A6BE50-C709-4C40-BBA9-095196969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4A9F344-C148-4B55-AF74-153FBBD88E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430CE9B-1779-4692-811D-CB93E8A68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479BC6D-2547-4D82-819A-7F3353A67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71C70CA-B586-4CB1-8CF7-52BB140B1F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F91E0F4B-EE8F-479A-B91A-40C630E98A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06B6C8B-2EBE-4140-AE91-9D21EE6EB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A6E4657-CD45-4743-A028-A33050676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5462062-55F7-41EA-A0A1-1D69F30FCC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9437A1B-232E-4FBC-AAF4-66B66A3A1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201C82F-FD5E-4437-9059-B513CA335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5ED8284F-D4AC-420C-AD90-975274C41C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8204BA4-1D9B-48F4-A22B-3821D91875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B2BFA470-3952-4A51-B23C-770112C6F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F155DDE-147F-4C43-A0BA-FAD558403E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F10B476-4231-49CB-90FA-635066AAC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10C7258-BA43-4814-9682-C8286273D1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6BD9E6F9-1C73-4676-801C-E436D788D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557D346-CAAD-43D2-B703-9E16472AE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4F26B1B-03E7-4CB1-AED7-C3BA247EB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397B6F8-A5D1-44A9-AB95-7E02A5F438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3737FAE-4A36-4A33-8466-B88DC2C82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66C0E78-4D44-453A-8484-5EE05DCF26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3988546-D0F6-4E11-BA91-6E2611371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9834603-A924-433C-B00D-2CD9047A4A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30F3B24-F8E3-4D79-A4EE-0D5F56200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ED2544E-72B9-4084-BBAC-D61F1EA8F8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DAD228B-9925-4CA5-BC26-C723D1D287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C3D0ED8-32B6-41C8-A884-1D8D19B27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D9E6FA8-3E20-4AEF-AFC9-DE720B95BB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6718D85-D845-45A0-8CF4-135250EC72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260EF87-1FAC-4195-A96B-BA5ADBFCD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A5D159B-6D14-41B4-BF06-4BB64EA82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972D9F7-CDDE-4188-95BD-76500A78DA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0A2BDC5-E6D5-4329-B20B-061B090AC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018A8E3-4375-47E4-97CE-10CFE336C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8B61F89-65FB-418E-B022-130B81B45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039C9033-2BE4-4744-87D0-82F2B22E4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C88FB07-D81B-40A8-858D-D2385F8B84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5D3C857F-B7B2-4FE4-8656-88E3533D1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5831620-E10C-4954-972C-783310D75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0CE8F52-9466-4A7E-9F7E-F1F70B6A3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746F910-C017-44FF-B2AF-F901F1E3A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78D05366-0C22-482E-8E37-26F4B7517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11F281C-0D4C-4520-9D80-3C37DC232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3B84FB6-CE2D-49C2-A013-77F3014CC7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A0449F34-980A-49BE-948E-46848DAA8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A4C5C01-893B-4187-90CA-F1FE3D093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5FC9E0F9-34CC-4BC9-992F-06EEA4D5FB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16AB8F4C-30B2-437A-A0C9-91646D1EB0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E0D1C64-C8D0-41D2-BD45-AB636E8BA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FB508FC-AF47-48F2-8F9B-3E465EDFF8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DA34E78-517D-4139-A6B9-275C5AB87E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0EC1504-6955-4E0D-BBDA-A5AB5D35F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08D3F2A-E90D-406A-9A33-AB7BC2FE8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20AFB97D-DB86-4771-B2FD-6C6613CAC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FBEA589-293D-44C5-BA9F-A6F95BE43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38961DD-A448-46AA-A369-42A0A3E235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591A613-C9D1-4572-983C-9D196C48F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E85720A-1782-4C7A-BEE0-A77ECBED1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7BBD7574-CD62-4CB6-8736-D5DDFC4F6F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2B18297-5885-4FD2-B339-0293D1992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6FC8DAA-CD64-491F-A982-4E671805C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21B1D9A-398E-4662-B985-09AAA37A1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FE8F7319-15D5-420C-A816-D4AF6A7AF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123374A-0432-493B-B497-5AED5CB63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E9AE1D3-4748-4035-ABD2-562CB1225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5B5EB4E7-E4C5-4A65-BA8B-E3599DAFAB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1A7EFB52-1F9D-42E5-80A7-C0367855B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7DA2C23-3057-45F6-8ABE-DE30B3C84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189489E-E186-498E-BC3B-11E881B68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4C5E3DE-25C0-4025-AEA1-67ACD9B3A7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B07E97B2-D468-4EB2-A26E-3DB03CA42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18B54A77-4921-41C7-958D-23C1D5C7C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4D87DD4-1327-400E-851C-841C594F38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8518573-CB4A-4D80-BBB5-47038F347C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97C6177-3731-461F-B3DB-CCC4F7D21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57CD9E9-5064-4D47-BA57-AD08D2A81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11C8C2D-7A54-478B-83D4-5D52E09FEB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BF7635F-90EA-462C-9EF3-255F4EAC0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1EE89D2-4B65-417B-AE25-48A6A15D8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A087365-6074-4B31-9311-FC5EEB75B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882B560-BE4A-40AF-B349-7656E549E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5F1C99B-56DA-45BB-BBE4-F1CA9284D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44232DB-50AB-4452-9BF4-1ADEDF320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D184C4D-49C4-4946-808C-56DA7411C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92E416E-756E-4B84-B330-A88BB0D0E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58AA7B3-F129-4EDB-B659-54BE04E3A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3F74A55-1E78-4D1D-8B78-003B75ABA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94319E4-24BC-429C-8052-CE9DC3A3D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3AFC2C38-9E24-4598-B677-CDBDEF96CB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3D806D0-9896-4D64-A0DF-0CA3B649C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A002221-7F3F-4685-A7FF-92CBE838E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49DAC79-0303-4D1F-BC21-E711BA713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B8DE464-E275-4B56-AB68-56FF77AACC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38C1128-FBA7-4E42-B344-EB1F0E54C1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2106128-F07B-4AB8-B8AB-2965489C1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5314EF4-4991-4602-A2C2-FAB7407D87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7248532-A607-4B6A-B5E2-11D730C6C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60906FE-EC51-44BF-9B07-844BC49954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3B1A1C7-A4B3-45EB-91E1-345698A3F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57B6F37-1CF2-4A29-BFBB-3C9C96ABC9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2620E11-7E3F-44AE-A1B9-C8856F5E4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C4A46A5-2C4F-41DE-BC53-8AAE32604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A884697-C575-493A-B9B6-1B03C0232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D091189-C4AD-496E-BCFD-0320994E4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12DAF1A-0C39-4547-B5F9-AE7159B9D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3B4D1E4-6B21-4709-9BFD-14F465F1B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54D334C-8E48-4F03-B1B4-97D4C3845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BE6E694-104B-4540-BBC2-C2DD66AC3F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A260761-BD7E-4F7D-BCC3-94494FAF0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FA2F2BF1-340D-48A6-8920-0E05894B6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607DE94-1905-4536-B913-6BD188870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58CDFD4-6A74-4DDE-A456-A7DE5045A3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E6A0D5E-DF43-4AA8-B3E0-FFFE8654C6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B9B23F8-3227-4F04-A52E-7BE5BF94D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58A18C5-1E9C-466D-BE88-6BB5128548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D0BA111-1828-4941-AB3C-8B2D6C804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BA8B144-E6FB-4F44-8028-8257021B29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AAC8256-B69F-4081-836A-4A942BA31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496C086-4C29-4841-8EA0-F34B80DCE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0E7903F-A576-4D93-B5FE-B2DE186B67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225101D-0E40-4F3A-AFB0-5CE52E9945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7A3B65D5-0877-4F98-8A82-F5C00FA7AE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BA9E0CF-FA79-4D40-832A-5E3A33E13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E8916F5-6369-4D11-8CB7-0F9A9047CB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A89D4F4-A270-4F3A-AC33-499B019EDF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83A7D180-8963-4217-BED6-4A565633E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EDE85DB3-381E-40D3-8F4D-17A88FF440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5F08958B-74FB-4B1B-BFFB-23B1E4DAA3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7D5B9BF8-1E1C-4D73-B200-6CA43CAC9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F7F6B1C-1D88-47A0-8318-9FC5B8E5B1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00FC766-393B-4D22-A058-6F7BF328C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D9A100E-09BC-4866-9E15-56856ED195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D03201D-38EC-4AB8-9FD5-723EC24D4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CE6DCC4-E111-473C-8414-683EDFF8F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C54E7B7-4DB5-406E-8588-7CD90ED28E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97A0643D-BF54-4120-8F4F-C9902A399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5AF9B72-DA5C-4F41-9DB7-0418DDF1C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0DB7E84-B031-4134-A381-28826836C5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DB3164C-D1AE-4EC7-B852-E7DC8C26E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942EDBB-E413-4C29-BF84-BF043E0055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885CB23-08AE-4B1A-BFFD-7AAB36530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653CDCC-33DC-4400-AA18-D479D8FB0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B6E64AB-6FCE-4D81-B66A-8CA798CC23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024620C2-DF55-4D06-95E8-8A97E15D2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25D1850-ECA3-4440-B812-D8730E3E0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5EBE52D-E1D9-4AB8-981E-38AE5AA4C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E233FD7-AA09-4ACA-9847-5490B372FF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F2E1ED48-1C3B-4B24-849F-EB2BE2C04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62F73C4-EE40-43B6-9A6F-FB63470A4E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D224AFB-E0DF-44FE-82DE-C4146B018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C8230FA-749D-4D2D-AF04-AE07A5C73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F0514E15-8BF9-4BF9-A436-6192DB1FE1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AF10CCE-3563-49E5-87A9-B743C28816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761C460-AC7E-47E9-80DB-A6348BB7E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08C5E64-05BC-43E6-B464-89427CAC5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F506CDB-A221-4370-984A-61C637FAC3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389691A-0063-420D-AF69-4A1E0BFE2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05F91EDB-0AB5-4F09-841B-FD216F68C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4CBFC4B-F74A-4832-8FE0-349D6BF6F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6E07F20-8305-43B1-BBAF-D72FA6B68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5CABA8F-D5C5-4D67-81D8-857C7B7063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700EB83-DA70-4427-9164-4D290EF0A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AFD8864B-5363-427D-A5E0-1E5F40347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DEAF5BB-BC14-4D2C-88B6-B272B0043B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2347E5BD-C6CE-42FC-9E4F-B644B46AC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FEA6407-695E-4D49-B178-327894E61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D3CD6F4-F200-4F10-A735-03ABB9E74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5542E4BA-F4F1-4FDB-B6BE-976A66756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44CFE71-1069-45E4-908D-4EBE4E202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CD69937-27CD-4B60-961E-262FF57ADF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4FF62E42-76A1-4F91-8C12-173CFFBD5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2D0BEDF-20B6-4A77-A171-193149007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EB88014-D6D3-4054-8FAD-B7B58FE922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3C118F4-4BEE-4096-8DA3-FAB88272C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F21F5A24-C2D9-4A3D-9569-D762E8F79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E3B59B9-3795-482A-B794-5FD491705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6B20F3E-D46B-4BF3-9199-338D20F946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E9F67D4F-0021-4CD9-92EC-BB6A8447A4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49429F11-9ED4-4B3C-ADF0-5EAB4EEA37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9788C11D-1B6E-497E-A534-41DC785BD6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ACAFEF49-86F8-4286-876E-BC88C0826A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1C51033-897A-411A-9AA6-DBF9A2F5D0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667D62E1-D834-40AF-9681-AD9F766A9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12FDD0B-178B-42DA-97C0-A1FDF2BC4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6F4EDC9-A1EF-4F4B-A824-E2F1AE9480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EAA2A42D-8A62-4855-BF11-5C6E2A6E09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8CB75586-F681-4F94-8D38-9DD14376B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2FBBAEB-F13A-4CB4-82E1-89A9BDEE1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3B33931-C46F-4E37-9C33-C4781B377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556F1A7-5E78-4ADC-AEC0-506D25B32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A2C6883-7B1C-4ADB-B71F-78C902A8BA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098093A-DC92-4842-91B7-F66406FA7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2463E50-1B02-4717-9AAD-EB5232701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4972880-52EE-48E0-BE0E-5B66CD1F5F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F55D983-38BD-4CE7-BAB9-620161383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D3A90ED-A344-4847-9E89-55A99EC839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78CE216-17D1-4A2D-A45B-D0E6BEF9A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077363E0-8933-43F6-A8F2-3294C448B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0804C0F-6477-48C3-8893-302F4E212C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C5308C5-79D6-4AFB-917A-950C61F97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7E4BD88-02A5-46B4-9D71-241B3F0B69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0A80E58-7828-481E-AACC-87B4751DA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CFE658C-6B68-4650-9B97-DEA9FC2ED5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87EFC78-86B9-4B1F-B9DA-A30D957927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6D77A75-F124-4F78-828B-F6254ABC6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36F8E26-3363-4CDB-A43E-A6AB626AD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CD7308E-44AE-4053-9077-8F4426148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358AC65-23A0-4CEC-A999-4A90B2DDCF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B71D450-3092-4D78-83AF-3BABD4C137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847F4C2-7C73-407C-BF9F-FAEEEDE9CF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20027CB-711B-4349-ACD0-01382EE7C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9F0CA48-0EE6-4BC7-B5C9-1ACE29A85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3512674-A9DC-46F7-B229-623DB5AEC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5056325-D4E7-4E1C-A1C2-85AEA59C4E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383416C-70B4-4EDA-A065-2DAA53C18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32F90379-5CAC-4EEB-BB1C-C3ECBD183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75847A1-B518-4EA2-9BBC-E0D5598B4A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784B280B-5CAC-455D-B575-78C7A7C437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17AB4B7D-F84A-4520-B6F3-B40E8C8C20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9E16C08D-CA07-4E7F-BC22-B515B8447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8F9B35F-9981-49A6-B885-C5725B153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91CF5EB-A3B2-4F0C-BB63-1EDC343B3D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A00F5A37-6F24-4B81-985D-D878FD2AC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5F18165-B324-4AB8-BEAA-3D708CF63E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3FD8B3DA-2243-4DE5-8AF0-25BDD5381F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4AEB753-7589-4FA8-BE65-035F1E450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1EF812C-06A8-4588-9587-281DBDDF73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7AD0A3A-A2DF-4939-9C09-B3261BF4D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0DBB86D-4A93-41AD-ABB0-63CC8EB8C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222F50C-0744-49AB-ABA7-3A76CD9A5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6F2556C-3F37-473F-8CBF-C5534427C8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2C3B4C6-6390-4449-A251-208F19513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6A1F3A94-90FC-4734-AF06-2B35F51B2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CDC066F-4E8D-479D-A305-A10613EFD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9DAF7E1-0590-4E29-B581-B48E256BF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9B0B6A8-686F-472E-AFCF-2CB156970F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A49071A1-831E-4657-98BC-09B37BF17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515D252D-9F25-4DAE-85CE-747F5F714E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D4F2217-47FC-4957-8682-5531E4DC98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116AACE-DEEC-4FD8-9C46-C6EB36E0E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AF3B97D-FD92-4FF5-8C8F-6357C8514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9663D2A-23B8-473C-AFEA-1D361E350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FF24977-CDDF-450E-87F7-566AFD4204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6B7E0E6-6335-42A7-B17E-8E66ED510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B6F2646-FEEE-47B1-BA1D-68AD7E0E5A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BA3EABD-D66B-4B01-943C-306D092EA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703EE3E-4A94-40E4-A8D9-AAEBD108E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8F1C996-2AB3-46ED-9418-E96AA1B60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0117918-D713-4223-B96C-04ACBA51F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51A9DF0-88AD-4ED2-A49D-4E4908E5D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20BED77-2CDC-4C23-A3BD-4AD43E43C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04F47CE-A0C1-4D11-9AEB-48458B90C4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FB4E868-B480-4C9B-B82C-ACC0062F78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C14589A-4A6D-4EB9-A515-46718D2338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932023A-E0C5-4CB6-AA35-080E0EC706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EBADE38-4FCE-497D-A554-E17C5942AE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0DC2C76-AB7E-4842-AE66-3DFE5B2C1A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090DA0E0-E4FC-4485-B3F6-6735058761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55F8C450-909C-4261-8C33-02FF3F4A7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E391952-B474-4830-AC9D-086F29771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47339C1-F62E-4B61-8C8E-DE9346CDFB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4E7115E-9600-40DD-8913-A147789F4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FDC224B-9B65-44BA-8E27-DBB810C45A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FBB847C-1A0B-4694-8F10-4CC7DDAAF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225E79C-64DC-4DD6-89C9-7C1D52933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967CB04-D0CA-484D-9912-95E94AE10F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8B62F529-7B61-44D6-BAF4-64B15B89F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0AC07E7-DDED-432F-BA90-F36846B0D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9CF8D0F-0E7F-45B1-BC59-80CA11E90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4BA71CC-5E6B-4B37-8329-CE4362E43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26E77E90-D98A-4319-B468-225A55D2A9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FA8E2F7-0AD8-42AE-BE23-F82E835C9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A49CFE6-7FAF-4C51-8D4C-74F0C800D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C3741A6-80FC-4942-8202-DD1C8E36B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CD67C43-204C-4F0E-A62D-AC2FA82007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80080DE1-19CE-437D-AADF-05F3957FA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42567AA-BC16-4F7A-9B14-C72EE8A742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5E5E58E-280A-43BD-B525-8EE43D96A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A591CF4-833D-4567-AF75-1BA345222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7BF8CAD-6E22-4FC6-B446-699D934C7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E4AB5584-B518-4EBA-A9C6-08420283B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75BDA2C-5118-4EBB-8498-25CEDC3E11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3A58567-7778-4274-A18A-1116BF837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EA6D74C-FBB0-4DB3-849F-402A7218F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29D2C4A-7D57-429B-AC13-CCD99FB46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7CF2097-AE43-4770-9694-B3DF0FC6B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E12108A-F9FB-4338-B594-483A1A164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A701C45-8FD2-409D-A462-3C87DFE47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4E7263F-D40E-40A5-9A69-ED6A5E0B26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DC6D409-9820-4926-9536-29571F763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14A7951-E0C5-4C5D-9B1F-4554A2C67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A72AA82-12D9-4C24-8CA6-96713DABD0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465624C-5309-441B-8923-33895F427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8FDBD5CB-8BA2-49CA-BC6A-49251FBB8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A56EEF29-6856-4ADD-8EF4-0FA0E1FB2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E285393-A2FD-47E0-8ED8-B74E48DE4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5F3C2D36-C78B-41A4-A8A4-B40D2F615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4863A18-42F1-41D9-8255-1B362061E0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6AF38A6-C574-48E2-AF98-CC09162C89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E48BD24-F0FD-4F62-A59F-EB29B75D2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6A137DF-B703-4995-9150-B6EA6C24A9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BFF186A-C2B8-48F4-A65F-34274D588D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C8D970D-E376-454D-881A-DBC0BA95E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06B1F6D-07B7-4CF1-9865-13DE31824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C94EBB3-19D3-42D6-A7DF-5E3396C47C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56F336E-800F-480D-A319-2EC8D2C9A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3C0924D-3621-4499-B3B0-9A1FC09CA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7913FA2-07B7-4F33-858C-C3AA4BC01B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8ACE950-64F4-484D-8E58-9048D0061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483E75D-21FA-43F0-A8F5-5122903C0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A5160F5-2230-458D-A36B-3F338FA03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61E3127-107E-4A52-B54A-2991FFCCB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15EE3F9-DC1F-47A0-A30D-6C646E1FA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514862E-736C-41AF-9CD9-FF7F0472F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8FC2ECB-5FF3-40FB-A2AD-9A71AF8FB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E457D44-AA76-4650-BEAE-59B76964C3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55248FF-26F8-4B8E-9E17-83412088AA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0675631-B796-4DE1-BF37-ADA069CC8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3B3688C4-9440-4A91-B1F4-036707579B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1AD2D02-1DA7-4CDB-8E2D-841B92F93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0FC8CA5-54E6-4C2F-9D00-955EF3128A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21DD1F2-A96F-4BAB-AEF3-9D4C1D5E8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53FAF1F-866C-48E9-9492-AD9907173A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67E6B28-98B8-48CA-9D6A-222A5A847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7384E18-4A98-49A6-97E1-7EF25399A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9B22ACB2-DB93-4A3B-8AFF-A032B67903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B364C5A-3174-4F87-9527-422F63A8D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CBDD7DE-A809-4B9C-AC7D-AE490C834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DDE6594-7F5D-4AD0-A9F1-EE75E11DC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DEB7297-52C1-4428-8FCA-A9DC2D371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A5576E5-AA67-4C2D-A0C2-A1D9FA48D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3F8F023-65FA-4069-BA75-35D6158F60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0C58BD44-D73F-4EA4-BDE2-480AAFF21C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F0AB1C51-78F1-4906-BC50-B478E42114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9F5CE4E6-241D-4F56-B7FC-24ACB9933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CE2AA90-D53F-45A9-923F-F4445D214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6C6D016-0000-4652-9EB6-F00D566843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998F5ABA-7B0C-440E-8E9B-FC11E27D6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8AC3631-10D2-492C-9FA9-C429EE124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1EFBA13-6133-46EB-805B-F51C4CD195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AF372899-127D-41C6-8052-049928336A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4757007-DCA1-4921-8948-17E47214B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A87B64C-503A-418B-932D-7DB88CC740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7E68764-9F33-4EA4-A44F-ECFE46B12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74AA772-8940-42F0-940A-3A1C06140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3275390B-4569-4813-B2EC-DC9A46ABC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CA349E5-9BC5-48FB-BFAE-5AA5147169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72E1D972-0EC9-430A-B056-1CBBD327E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951967C-7598-4640-8A8A-91D341B1C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D0BB38EA-7F91-4AF6-955D-066EBA6C9D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930D152-486E-48F5-8D1A-BAFDC12C2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19EFD82-24AF-4EC8-9A51-33B6ED1FE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E1AEAA2-174B-4DD9-907B-18466BD89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47A5D835-090A-4322-9C96-7C86E5F97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42B56BC-2037-4491-916C-372896C4E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6B8D6CA-6AA5-4761-99B7-C58B6DC0B2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EF6385D-84A4-4EA7-9E97-D1559E5AC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FEBE271E-5F18-4B07-B8A7-E5100D70E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D42CC23-BCD1-42D7-B940-CABC6243D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111184A-8921-40F0-BBD7-0532C26ED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D87E47D-02BF-410D-B6C4-47CC489D64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E27B9FE-0F41-4AF1-B4A5-97FCD4FD75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CFDAD68-788D-4434-AB7C-5667623787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A1ECAA8-6957-4F61-A614-EC3C1784A2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9617645-A489-48E1-9E9A-D1A29535B9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891B6BF-E52A-4159-B5C3-B2980D1E0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A56E7B3-F599-402E-B1E8-36ADFA7DC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D22594B-05E5-4140-AC29-FDE0A0FD18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7D7722E-E7F7-4FE0-A72A-CFBFE75D93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830ACB6-0482-4DF1-80EB-F796E3B1E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4199E49-1DFC-4280-A0AC-1904F3A74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4FCD498-EBD8-4B55-A601-524940B61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BEC1515-76E4-4D7D-AEB9-0F445F8AC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84C99E63-D3D5-4F5E-AE4D-4420B66E9F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05B7246-543D-442C-8F89-44872B77F9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CD827CE-B0A9-45A6-83E6-9947AB258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DD7764E-7A34-48E4-B1BC-328EEA763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B5B06AB-B3D2-4CBA-B890-046BABDAF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C1992DC-3A35-4401-9EE2-9D50A04C6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7097C9B-2D06-43F9-9850-58BB0EABEB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DECD5A2-A2E3-4741-9156-FECB5E911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E523365-CAF6-4F2E-B0A0-7D7C05E82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C0D01A6-9E9A-421C-81F2-F37873D775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7DAF13F-EBD7-4C71-872A-34B4D529C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7697FA07-EA2A-48E1-B006-CE7F58E5D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1258E46-37B1-42DE-BFBF-6F2B0B9440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F4F82DA-6C48-4D79-A51B-3CF66EA44D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E357FE9-1380-447D-B2E0-378D6099A3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8CB6C01-1151-4BEE-B620-6C068BF587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1FBCAB1D-F0E7-42CD-9AF5-9920A79A1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B717F79-0872-49E7-AAC9-7C59179A0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2DE31BA-EF2E-4B95-8E78-F082F2BFE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3093E6EE-AB17-4A07-942B-5DF56A99A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108C118A-4996-4F99-8C6F-7AD200A9F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0E44CA3-1D38-4716-B4B6-F05BF7BB86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5AA2437-058F-441E-B1BF-56021613EE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8E8BCC84-F26A-42D8-8235-C5BFCAE222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86181BA-9556-4457-ABFD-CC20EB87FE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F54D688-3D26-402C-B1AF-7BC2ED262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3171B1A-B75C-440D-8B03-0AC24C09A2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1A86D84-2CD7-4535-8A09-7962F26F5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19B01EFD-801D-47F5-A5B7-721357BE8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631ABD6F-CE6F-4F4F-98D5-C8A51EFB97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7E9603EC-544D-4C3F-8116-AB334D0C9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48CC016-9B4A-45E1-ADEC-76D142BBD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8DBBD7D-684D-47D9-A3C5-B1C6A223C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47431860-0A97-4891-9A81-2EB849804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673D179-A6D5-489C-95BA-D55FF0500E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79E3D55-E301-4774-9D53-63AE66C8D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661FA4A-535E-48A3-832D-C7120FC38F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73D92E8-E3E7-4E75-A4A0-659A35618D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4308917-2838-4D5E-9A75-77980A9BA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98A244D5-AA02-44B5-9881-04BC073795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708F0035-9F4F-41CD-9C0D-631D7D14D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EE5FF2AF-3547-4BE6-84B1-61C5E942F9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2D65F44-20F9-4EB1-AFB0-7474F26F0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8FD7A31-DD5E-42F3-A71A-8E25B22A3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8EDE9A7-04A1-4181-8199-45DA11309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7D9028F-0444-4EE0-8E61-4F43811B8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CF75ABD-2470-4B7B-B4C9-30B32952B6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5B660B1-62F7-4DEB-B045-0C1BE4F12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087AB77-9517-4800-995A-421D24D095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CE8B68C-B443-403B-8387-1463C3C3C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2729642-B691-4492-BC8F-4ACCEC7D2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7780361-81F9-4B61-B59A-CBCB91B50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5DAD0D3-C26E-49C4-AF2A-1352F3FFBD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E275FDA-3FDC-452C-9359-D2CA312E80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C7E4B8F-E590-4476-902C-90C34CF444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5E26462-26BD-4E5E-915A-63C3E4D51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0C6FE65-5802-4E7B-9323-F76BA7C389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E11133C-C589-460D-8A20-5D28F5B3D4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FCA4213-F899-4B90-B03B-041088F15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3C0DC86-D51F-4470-8CE5-09AA895565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C55A961-BA57-4EB4-BC78-BFF26644B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26E3BBD-5F67-44B4-A814-F00A5C952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4BD466E-DB4A-4187-A961-D05D55B45D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3A1FA69-C619-486A-B665-F6A0B0A2A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0C6F1FD-7ABC-42B9-9848-2E1BF0074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F31EA25-50DF-4A48-87D9-0785A8DE8B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F20160F-D2B3-4AFE-9B90-91C508492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2BE4397-B1D6-4CAC-AA9A-37804E1A2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1E0E716-6ECE-4CE8-A321-6970A80AB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AF842D5-B6A7-4F18-8E3A-317C5FE24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49F328A-12F7-4B22-A730-96483714B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41DCC29-4B65-4FBA-AA1F-DA9E9FEA8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8B0FDECF-B137-43B7-9B59-ECDAEA1DDC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E31E5C8-8864-4791-AF46-F96C29C7D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F40CCA2-07CE-45D1-B772-F856395219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7123240-6CFF-411E-AA07-33AD81698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08189DF-AD2D-4EAA-9B66-F8CE203D4E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1DBFAD5-CF21-4A88-8CBD-64CA92F03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069FB1E-21CC-4EB4-BA7F-4F1C5BAD72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4E2B019-C4C0-442D-B585-A5FCFC8A2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FEADF38-7D5C-4905-9DA6-6351E24F6B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51A68EB-8A71-46CF-ACDA-0DF3BF2814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4E4D843-C8B3-4140-9B78-19CC2BB8A7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2FC08E5-73E8-4853-9A9D-F3DECFFCB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310AA07-01BD-46C6-A47D-860C0E3F3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06C7B85-B3E8-4145-A138-364551A39B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B032886-03E5-4623-BCE0-592F0059D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4184FC3F-202D-4DA9-A3B2-8D2C2B8C9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82C98114-9BA9-4AC9-9EFF-72027FB103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B2C74BC-329E-4E9C-A849-CC92AE509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539A526-B71D-4597-A6A2-92C7D83408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3C223E5-596E-44E6-846C-E43E32CF5C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DD0F5C3-B489-4DFD-9EAA-96AB694B5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6E80B79-A112-465E-A4E5-2F1E8C3107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46C8034-5F7F-4153-9718-6424F623D0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7BE048D-9BD1-4809-8CF7-21A740B6F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52F2C92-6D28-411F-A2F6-C34511CF3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D569090-FE9B-4295-9620-ABE3B81BEF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F34B077-37E7-4E78-87F6-181C71047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21AA26F-6801-448A-A798-E016D1ECDB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9B579A1-D24F-4D93-B489-C902548AF1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571E7CC5-8940-4B06-802D-111CACCE69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BEE9BFB6-CED3-4EF2-B1C4-5958F9499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4891C8A-4F23-4BD1-99E5-51489FD3AA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81E2AA6D-063B-43E6-B097-5CA29DDCE6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432A0EF-FC16-4C2D-B320-32C02038E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DD10518-F2DA-4E69-96A0-CC050217B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F7BAD81-90FE-4402-9DA2-445ACE5F3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31B164F-0FC5-43D2-8665-C5F9449C0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BAFDB06-59CE-4169-8438-8B9D853D7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0CF9A51-2C41-4EBF-AA2E-695E1E319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A871D01-E973-41BD-BBE0-6BB2FE801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EF09F40-5AAA-4615-9454-867E8E1C3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0596A81-B0E3-4B2B-8433-809805A64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9321ECD-C973-4CBE-9331-1E6079DC3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9228DE8C-1606-4FC3-B017-5C534D58B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741072A-8B3E-49A8-9291-6AD2CA9E06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AA558A7-BD6B-44BA-ABC9-C3651A96E8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686DA29-6402-49D4-B15D-9F57EE4FC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DCF36F12-EEF0-4EF0-91AD-BB6451DDC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AAB33DB-E054-4D51-AEE0-C6CFB6F558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2BBBE0D-E068-43EA-9438-4B74ABC51F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0D50EF1-9942-4A01-82F7-29DD934F9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658E47D-1FE2-45BD-9218-ECD92AFE1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E50704A-B77D-4617-9D76-26F867C91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3993C6D-5AC1-4F2A-8467-95EF6C5A7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0A2B811D-6B2E-43A2-90DE-3644832B99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D0EF3B8-1AE6-4313-99CC-1CEDA49FFC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5790E3BF-532A-4625-A58E-A13C26777C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E8BABF5-007C-4370-B2D6-400F360373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D464CC2-CB49-44C2-AB80-C7BB8476FA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A8A62E4-E6C1-4C2A-B9D9-FBBDE600B6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712BFD92-7DFB-498B-A31C-279A85F09D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A4A8D277-0469-4101-ADA2-31CCCDD57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BCBB139-C235-489D-A3EF-B5C8570EF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27CC098D-B274-4F51-B6CA-A9D61F49B0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6ECA3CB-D096-4A33-A69F-1F2F38B4E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594EFD6-F302-4F42-9C7D-92F0354DA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544C53C-7E2F-4B8D-8BC5-2BD5FC6487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8EFEAE2-5CE8-4DDA-A94E-334D500A86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05627B4-0F6E-438B-B8D0-FC9915ECC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88EAC7A-1AC8-4D25-8B4D-A7C5C9A022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A787CBD2-0560-4C74-ABB6-110A3A7CEF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E714C47-0A3C-4B7A-8327-D1EFBC50F8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8929E4D-26DD-4796-AF89-8B9ED3CF4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E8ED7F8-6351-421F-A534-F32E31E483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61C203C-0121-4566-8B06-21E884F859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E780AE8-901E-4A04-95C5-792B47C54B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3532151-E8CD-4E02-B14A-6E01FF8B3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50875D9-468D-45E9-B980-1349197CB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5427EEB-FFC3-4E4C-918A-3DEF199344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65BD953-1EEE-4BDB-9827-F58BF071C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7676EFBB-3148-4A33-B308-6CAD64A47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A3440D7-61B5-474B-B6B8-43A959218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4DF1B7A-0DC0-481E-9A94-6ED442AE5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A5C3C10-4078-4D89-8F96-C42F1C533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8A283D7-A43A-4219-AB34-CD70922C5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58E6B20-9A95-44A6-BB4E-BE475C26FD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08C66CA-9D80-431A-8204-A3D5AE022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F99B41E-935D-414A-9E95-E51765BA3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99BB4946-F842-4829-A688-74940A4D6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DC4A14F-6996-47E4-976D-CCB9081FB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36B6814-E3AF-428C-BA46-CB3A56A7E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389D783-8169-445D-85D3-6C0DB4ECA9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75BD707-BED5-4E28-9BDB-5C6D46DF4E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2EAD640-7FE9-4EDB-900E-ED27C74AD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05D6FF0-21CF-4D1E-B8FA-F69DA7B9B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C51CF5C-9FED-4671-B8AC-4E502F1E03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C805C14-7B03-4952-9B82-C8FABACD7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109A754-388D-4576-8D3B-4AB5A70C6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AF8F1E9-F472-457F-8E61-BEF741659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B200CC1-3225-4B53-83C7-8656D8679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B918C59-95CA-4709-94CB-6E32A1069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BE23998-3FA6-4502-A087-918ECBFB59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3589E6E1-AC71-43D7-9572-11E4C540A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5461D56-BECA-43CB-BE96-49399CFF0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5DD5936-AD5E-4FEC-AFFE-348C3EBE2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0C8923C6-A37B-4D22-BDAE-589E79F02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66905B4-EE3C-49B0-9B63-045D9FA2C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838A83C-798C-4CFE-BCD5-8E5DDA28BB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D2043217-49D0-4737-A3F4-8B82B08DA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2671F6C-4E42-45A5-9873-3B6BB04CB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AF7CAD7-DC71-4048-9B1D-043D95060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9A88B1B0-5340-4517-B8DC-AF9523FF4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076601B-55C6-43FE-AA40-75D99A66B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59367CE8-78C2-4694-AB03-1F5D1EA490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F8F5DCC-F0FD-4CD1-9DB6-34EFDD318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077A8CA-CB84-46CC-A08B-160C6CFFC2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F55631C-8992-4523-AC1B-A834AA2A1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D27B158-4A48-42E7-A8C8-71A6C8F800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1B267C5-4E9D-40D7-9CE0-472ECC240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E51A064-A01A-4DFC-86F6-D6CCFD595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B870AC7-00D6-4689-BEF3-2A22297DF7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E07C742B-1880-42E6-BB23-FC137D3C8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6A93AB7-8B61-4053-ADAE-7A39D14CC1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1E7BF53E-CD0A-4053-BE88-CE3E82FC20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904D9143-64E6-4B67-9721-44240A94A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9988686-DD09-4E5A-9EDE-BCA2C9D4C3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E90E4097-C199-4751-BB2D-FD300F2E9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1277EB54-7298-463C-BD66-8365D3013A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4949192-FD3F-4FA2-97A8-71A5537B1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E3CB1FA-25A5-40A0-9FC2-E1D244545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31EFD73-4190-48C9-814B-207822A7B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ACC5B11A-8531-4623-847F-E2B2808CF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66123F8-1BA3-4588-BFAD-6B4D69DBB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BE820D3-5AFA-4AE8-AD93-3D9262B86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8952335-4C7A-415D-90A7-7C6AE35B0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3866221-CDFF-42F1-AD51-AD88EF457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A47D2E1-826E-4421-B6B0-FF5C5404A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0AECDAF-014F-42CB-9EBD-540CC6F865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0B0CAA0-E12B-4A03-A79E-20C9B9632F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40516A1F-F6E0-41C8-B19B-C4AD4AFE2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49537AB3-BC01-4A46-8864-66E19FE5D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75ACA603-9D0C-40DE-B0D3-B4AE13925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5DE7E2AF-8ADB-4020-85C3-B18DAF52E8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5765744-276E-43C5-8117-DE8105390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BFEFD3E-88DE-4629-A281-EACA19F5A0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A1FFE2C-C3CA-4749-B1A4-BDC5D346D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65DF7D0-318F-461E-902B-34224B998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CCAFC65-DC85-49FA-B5D8-69A70AA803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83E0A88-3CBE-404D-9FCA-DD4DD7ABA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EA7E89A-8514-40BB-A860-BDA829F3A2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BDAFA13-7182-4DDE-A60A-7657878AD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6BED152-39A5-4CA7-BBA8-D6EC23C29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42BBB67-FA81-40BF-9778-975C7AD1C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ECA8A61-3279-4A22-BA63-6B21143C3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73C6BB8-BAD7-4057-94A9-AFA0872FE5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C6EA00A-4FBB-48AF-BA69-2BC648CCB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A150762-A751-4A48-A7FA-7B53B46B8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C2E204B-F572-40C1-977B-ACB7EC06B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19162F9-5C26-462C-BF63-C7E620444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5FDF502-44B2-4332-BD69-C5372E799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6372FCF-2A7D-412B-8048-53AC73130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DA9ED46-6AC5-4466-B23D-8888065250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5674510-B6B2-411C-8E16-25C6AE11C0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C340910-0377-4691-AECF-CC1E8AF27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CDE2365-C232-4F00-BE9E-B09C4850A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5367CE2-10C3-4E06-8D2B-42EDB268E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CA9DB33-15C7-45F1-89B4-884FD693A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B1E28E7-B031-42EA-A536-5F215217D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56C43AC-C8B3-4670-B442-34A156843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A4A63EF-12A2-4CB7-86CC-8A2461D79C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C445C052-D8F6-4439-8FB0-F6613BF79B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2BC3BEB-3F24-4A02-9101-6340BEE22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E0BB420-26D0-4BCA-A0E5-11925E2E70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C12D944-E073-416C-8E6B-3B4AA86E6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38F1E02-0B0E-45E8-A63B-9D931B113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7E846BDC-10D7-4399-8AD2-557701612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D6A065B-638F-4466-A498-D670270CE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4F2EF92-EE8F-436C-BAAF-D93B2BFD7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3B44645-8572-4352-B62D-F23AE1454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58D37AA-B982-45CB-9E35-CE8F7094B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672DDBD-4B8D-4683-A35F-8A95FB23D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E88CC23-4FFE-4DEE-88ED-2D19A07893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71053F4F-5277-4558-ACFB-91B68E4CF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2D52B42-2103-43BA-AF67-4571BD917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1C7AB64-A3B2-484E-A4AC-13F8B64364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DE9EAE2-79E6-4E2F-AE85-0C0439DCC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412E6996-1149-4B73-8E9D-9EAB1DC642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E69EA17-D984-41E7-9BB8-0D57714DC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5D5508E-A7FD-4969-9080-A37F14AB47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2685855F-09C5-485F-B648-961A7B386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6BB2359-C871-4A48-AB15-FA6ED582E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10EF6393-B684-4A85-8A67-8754D3E22A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EA36AECB-0672-49F1-A53C-F4B8DDC49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659A2AE0-E439-4841-B8A2-5164D63526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1A862B1-E45A-4F89-86CC-4113DFE0D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4351736-1970-4347-A5E1-2A814875EA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289B9DA-9C62-45EA-92C5-EC3C13312B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F39AB20-30B5-4A84-84B3-CBABB723C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A380C0E-73F8-463E-9995-5BF2CC36D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E650028E-C86A-48CD-B93C-366252531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8B28B5B7-7D0A-491E-A581-7F4797FF5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5B95182C-6088-40F8-9E88-671689502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0A4FE46-45E5-4BBB-89E4-4C22D59920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30418E3-BEC7-4272-ABAE-955FB8A07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CFC889B-6666-4E99-AA65-9FE82D5F5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FF8E4A8A-C36B-4771-BECE-7B7FCC0F3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B308A5E-9C65-4634-B5F3-D0102A9490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9968C1A-9A42-40DA-B466-0095B2F134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59E6476-01E5-460C-87E3-C71E49B8E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630CFAF-794E-4D71-B6B5-76CD836BB9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9EAF349-94C1-4A58-868A-F9FE3B0D4B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DF50ED8-F3D2-4786-BD3A-52117AFEE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1DF1881-446D-4E48-A117-3621C6E6E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1BA4D51-24CD-4314-9DD0-FD06615370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0F1B4D3-227F-4836-933C-2C6C3F220F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9561C12-9C1C-4721-88FD-C05A92ADA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84B6A8F-2D3B-4A3F-941B-66D6155FA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02617C4-0D82-44B2-B22B-246B0DB9B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C7E9AE4-A2E8-435C-8C77-912314572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0AFF1E6-5322-4044-97FC-3DD466695A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226AC82-48E6-484E-AE31-9E878EF3C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BA34E4E-DECA-44E2-AEDD-91CC08DF8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922C124-4D05-4922-AFD3-F435858F2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4B80FCE-1AE8-4FD6-8064-05B695CD4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21C0178-708D-48C2-92CD-28E70D35AC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83FAFEC-742C-4576-B6F8-5116CEC52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CA4BF74-CA9A-4977-9428-293317740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6A133B8-9E9C-4B7A-86CF-96F4E6AD6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6A80C85-7B1D-42DC-BBAE-30D061D10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5A7F747-6864-4659-AA8F-DC4472BA36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EA6DEDB8-DF9D-4E29-ADF7-CAFBED3F5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D8B8E22-52FA-41D2-A68E-716A2AF533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EB28F67-A03B-4E17-AB00-6DDAD3315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BAC4705-AAFF-4D2A-9A16-5D1F49E1BC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3CF2A01E-7AC8-4327-AC03-BFC7855964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93D71DDA-A149-4458-859E-7FE9539AB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695FAFF3-945B-4489-8DCA-69A5F5D01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05EC114-1E1E-477C-A70D-10E5DEF8A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0469C06-E9BF-4DE3-A606-98016B846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085FFE0A-A6DD-4BD9-8634-0407B2786E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60C19B1-5C53-4FC5-AE78-99DC63CEF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A74ECD04-C201-4B2A-B45B-50AA3F3063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4CED392-F70E-44C8-85B1-8ACFE1DEA7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43F56A75-C408-408E-93FD-41494FCC3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AEFAC2F-3F2C-43C2-B101-C76179A0E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9C89D4F2-AA51-468A-9024-F73217909E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112BBEF-64F9-4108-8741-21488858D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69A0618-EBC0-422A-9ABF-D5DC18C325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902965B-3995-4356-90A6-83758C661B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F9D58DE-F190-43FC-9C95-B858FA4E77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EF8B7C0-4EF9-4721-ACE4-B4232EB801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95CD09D-AF5F-4AB4-BE55-6DF6CDDC8E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6CE481F-0548-4519-AE49-C1BB0A356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CDCB4798-09FD-4666-8FA6-633E99738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A9924F0-C70F-4EC5-9D1B-25388DF8F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4D5F43F-7492-4CF0-A97B-8F4ABBCF4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F34921F-AC1C-44A6-921C-25F73D1DF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934B3E4-C3C4-4604-B3BC-3926ADD20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FDA5C3C-0263-4887-85DB-7D16F9438F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FF4B27AC-BBBA-45B1-B400-3A5AE7BF13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7A3F56C-E5BC-4DC6-8183-871B3835E5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CC2A3B7-6CE6-44A9-A46C-D98C3161FB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9AB264B-41DD-4461-9B22-FFCEBEFD3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C9B6A9C-9E3F-46B9-954B-8E527A8F3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C3508F9-2B04-41FD-BDB0-2D4BDBAF46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2FC572A-6C36-4CA4-8989-E6FE0BC1DF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621B5FB-9088-4A36-9404-9B38DCB76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91312E0-BF13-416A-850B-1EF657394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F1DC8F3-5ED4-4210-80B0-BF5BFE6E2B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4AB0ECA-1052-488F-BF71-4049F4848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FF12EF3-D504-4B2D-9C58-900A6F103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C0F5D57-EC6B-420A-92FF-6C0855EE5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3440C718-C8D3-46DA-9FC6-1EAE311B17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D4B0F6B-249C-43AD-BB71-E892A7778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6C9D25B-F735-4336-B179-60518D69F0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762127D-B934-4E8A-A80E-8ADF955E2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358F525-1B69-4ACC-9BBD-E2E9272F5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A8679F3-E9E5-41E1-A56D-2AA5882E0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2B76BE3-8A68-41D6-A57C-E4487406F5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7754899-0ACC-4904-A764-982DF532AC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1A81F01-8868-4659-960F-9662DB622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9E7C9F52-B6B1-4D0A-AF5C-E1C8F26A7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406B002-8C1A-4F1F-857D-B933A5221C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1F3E4970-32AB-4675-BEDB-A846617106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40A844A-47E2-42BC-90B2-91350CB47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4A8A7A4-8A58-4F04-91B5-CAB71C9CC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2E225BB-7CEF-4645-B1C0-348449497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0E39E7FE-4C8F-4CA3-8E0B-7397578127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35DC5CF-8C5B-4B2C-9731-7F9B530BD3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F648D16-AFE9-4921-95AB-BBB2F054CE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7450A97-61A2-4B0B-95D7-E38BFE8BF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2CF1795-EA5A-454E-99C6-E556BA75F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724FAE79-7A1B-4C94-8F65-8F648E5CEA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84DB6A5-BDA5-4017-925C-34ECC94AC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21F6A1D-3AC6-4C0B-A55B-BD9C15B0DD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2F24B05-A60E-4FB9-85B5-B0B9AEE4B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2273CDE-BE79-4FA2-AFC0-5B82386D9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23D0516-EF73-481E-A3DD-119F2EDD17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F63887D-FE58-4096-B124-0095609979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A8D0EA7-7183-413F-B84C-4B246DE34B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B3DF07F-E7E6-43C2-9B51-B9146C6225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3EFCBE1-DD3E-4A2A-B1C8-3E87D009D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B75B43F-2EA0-4F42-A0D4-C95D000045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D4620A4-BD81-4C92-97F9-E20DF27146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6989655-3C18-4CDC-9FEE-7BEFD8A712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6114402-C080-4EF7-997E-B06A9848C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65A913B7-7E39-4D38-A37D-E8E3487F7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4E966FFE-C59D-425D-9AB4-1638A58A8C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B7CB1A8-E743-4A2A-8937-CB8024DBB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CE30598-18B9-47BA-B88D-C4DFCC5C53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6DE5B2E-9666-469D-A66D-E4787316DB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4875E35-B5C6-473B-B050-B33A16F0E5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8D2900BA-F64B-46C7-A4F1-4C5A08A580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60B6CC2-B714-45C1-A609-4CA5306B21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6320061-1099-47FE-AEA3-C764C0A095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0B62BB74-05D0-438B-BAF6-DDB1727402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5C17C19-15BD-44AF-A499-B75336450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BFA8A976-3DAE-4ECB-BFDF-D18171718F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7D58E22-28FB-420B-B69E-0089DC414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87BFD12-D65D-4B78-B75D-821BFC91F2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5227981-041C-4546-A4EA-B6F187F66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975B12EF-44E7-4954-B0D5-BEFA3FCA0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1151320-5117-42C2-B472-D2EB6C33F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F186D97-1B19-4A9A-B6CC-ACFDA37203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1526774-2DD3-414D-92A4-2802D39BA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874A308-6B84-409F-B044-FD3A007E8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F71DE65-0920-4A40-A417-66FBFF181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EE1535C-76C8-4EDA-BF9F-C7781FFC1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EE0CD48-C547-405C-8254-68A3704FD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4FD9C01-0F92-4290-BE03-CB7BD23C48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1F58B2A-AA9A-430B-B905-0003A710F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2708BB9-9090-4A8E-AD7E-4EF79B87D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0BEA88F9-0B97-4B75-B497-8C9265303C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84918F99-0E90-4102-90F0-019602B5E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257B81D-C3CC-4434-B57D-3CC4E4D6E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A9525BD-AE5F-4B39-8A97-0369FDF771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B2940B1-92EE-4630-BF9F-CFEBC9D469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4F398AD-3F67-4DB3-9707-B8541C4E5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0F3594F-0156-409A-9E5B-B4390BAA9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AA6FE391-B251-49E6-A5CC-30BEEBF90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D406CF9-A8B0-44C2-8DCF-E43B6EFB0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443E55E-91B1-4676-8BD9-841DD1BC3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F914E51-02BB-45A0-AABD-36C55B6C1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80D61FD-2A74-4B1A-8457-F76153B6F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61DD6BC-A4BC-445A-A5F5-59FD8CE54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4B915E2-06D9-4254-9CBB-90C0C5C00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2B792A8-1D04-4ED7-A0CF-C36196C985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2F1EAAE-CF2D-4885-B7BA-B5F1CB71B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11597EC-2DE9-499C-89DC-CCE113B6E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475EBD0-7D2E-4EC4-A536-6FB405B35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502F5C5-1A5B-46C5-847B-2524EC1C6D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CE3522D-D33A-481C-BF72-3A8CFC4D1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BF688E8-2670-496F-872F-D5CEAE0725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E929C31-EE6C-4F7C-9181-6975CE9FD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F1CD57F-F03B-48C6-BA86-1A4E7FBDBC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676F21F-0AB0-4470-B0B4-338E67C979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396382B-7029-41C3-A00C-E2A9E5E57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F31EB82-E77B-4D90-8FB9-2934E83D0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9BF9A32-FF00-48DA-8BAE-F305A3824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DE38300-AA46-4D7C-B9F4-6E418CC08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BA1C05E-47B3-49BC-A836-7499A3F819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1E24831-A8F3-426B-A768-5469190E1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D9913F7E-CED1-4F9E-97E5-E6DA5D983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6312D0A-5E06-48E4-A27C-DB6F2F7C3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D84B08C9-9F70-4412-8E13-BB3E277FCD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096027C-A7C3-4AD9-88DC-BD2FEECC9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3BE9D164-7550-4E57-83E2-901CC686C0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73E6E32-2E09-4CEA-AD18-312B4E74CB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30AAA0B4-E282-4D2D-BD29-E4B30FB94B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CB9B8BE-E079-4F0F-B4CB-E7321E828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535E0C51-279E-4362-BEA2-D67CFC898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0F14BCA4-7854-408E-9777-247AEC414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D827BDB-52B0-4E75-B330-937E82EA9D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4676D9D-C930-48D5-97A7-3425E8C7BE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749F9C5-F58B-40E7-8FD9-D3F0C2B6EA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8895F78-575E-4A84-8AF7-929049F2A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6FF463F6-EAEA-43F9-80AF-6C9D0F5E88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F65C1E9-0127-465A-AFD5-84ED0E34A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4233B72-6484-4FB4-9F90-669A34BA2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63B01A1-C666-4334-B4F3-F9A9F9628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C56C385-A24F-4BE0-9085-224782EAE5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280A4D7-4FEA-4441-AA4A-6A01BA0D89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02C468B-2766-4CED-9C31-C305BCBE4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3B374D1-C110-4D19-AD84-A3799EF224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CF97F95-19DB-4108-A58F-5EB0B48FB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C93E467-3251-42DE-98DB-EE9B5AA07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A492555-FE48-482B-9BDE-A33DD7290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56E0AB5-B505-4E4D-B841-508A6F0EC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B015F28-ADD2-4A3B-9F44-EBF6DBF33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1EB3474-C8DE-4759-A022-7EF6BA4AB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4F50A0F-84F2-4E39-BEA7-3C9664AE2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C7AF310-A51E-4EEC-9AAB-C57859127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84354722-38F6-4C32-9DE9-B9A600ABA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566EB90-7EDB-42E1-AE28-2520586A2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959BD17-0EE5-4B51-9B92-863A986131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A0A44ED-3281-479E-B01B-9D70A3648A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95D97F5-AD50-4D9F-812F-139DCE463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AE119AAA-C757-43D3-BBFF-F250996CBF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D633233-37D2-464B-8AFB-E7616A10C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5B5058C-A25A-4C3C-AFFB-622DFE3A2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1B1698A-066B-445E-A994-B6FFBBD94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E50BB9C4-1378-478B-8C8E-822150F71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EFC25E3-5661-4AAB-BED6-72D745F2A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BC29DF4-F7DF-42FB-B242-7A8D65153B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55C5A23-C9F0-4214-84D5-9917B64117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5FD6495-120B-4B24-9AF0-5DFA536C9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409D72B-F4C6-4A29-AA53-A503E7D30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26BDC5F-A281-4C22-B8D4-85ED949C0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427CFAD2-4E02-4A1E-94CC-9D72CA87A0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BAB0B6B-3479-438E-BF7B-E923A16A3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540AFDE-6E69-4BE5-BF95-1363F1C46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FBCD179-C3D1-4982-8899-181B5809F1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FD7A7B5-A8FA-4BF2-BB65-F251B455CF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D13AC0A-2C27-417C-842F-C23F309C63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44A0429-0825-4482-A3CC-5EBFF9357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0AFE767A-C29D-4DFB-B804-947FBC025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B451782-3F4D-4486-9AD1-5027A99FFC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A3C6CF8-D26F-4645-8C25-7BD9B4A43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6914D51-F2E3-4EF5-8179-27B62BDD97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19FCCC4-E7D9-42ED-93A4-5E3D5CB74A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8426EEB-42EF-42C8-80FF-C8871DF09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105CC61-DCC5-4346-A4B1-236975BA4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C7D1C42-1EC7-4086-95CF-ADBBAA48AC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24547FEF-DC01-4B05-85BD-D2BF755A35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A0210E7-A5E0-4B0C-A158-326DC4DDD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30279FD8-CF1F-46F9-AE1D-E3F08219B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D8E45DD-FBD9-4275-8823-742822E0D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B8F2C2D-1EB9-48B6-B6D5-330DAA6CF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EEB8624-4D0E-4D07-8283-86BCE7184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5F741F8D-D227-4590-B457-9307A4ED4A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FF71B887-DB7C-4E94-9575-EB2966780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5B73DB7-3AC2-4E29-888B-43EFAB5EDF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84EF53B-B00A-45BE-87AA-5BAC7E6D8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8917D6BA-6E89-4A44-B3C4-F89DB9259D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0111980-78CE-4F35-A775-4D533A89C9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0F65A3F-6470-456D-96EB-D3F958125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BD98DDC-1230-480E-8917-AF5E887D7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916A475-CC39-452B-840B-BEE724AB2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E2DE9D3-8D9B-4082-98DF-E5861D392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7B0383A-5956-420D-AAE4-84FE317D9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906265E-A4D1-47E5-87B0-7A90E07E8A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89740EA-8726-4EAA-AB5B-D7C79C3039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908ADDEE-0743-4CED-90BA-D23541936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DC43A96-EE08-4F8A-AD45-234FC53686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8BE824E-37F1-4226-B626-C25962F48E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06D50A4-D36F-4F45-B2E6-7C0A37B5EA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099AB4E-C492-42D5-8EAC-758340EF6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7FADC8B-8C99-4027-B05E-706D0BBA4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A1A1F10-0D79-401A-A52B-545A861E1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89469FA-96FC-4937-BED1-9E8058056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C6E6D322-030A-43CB-957A-DFB072517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C995508-01E2-4CEB-B589-37105F0A6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B6375223-53A0-435C-93EF-A17C2F3D7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8EB09B0-3603-43BB-8684-091E6D1A0F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7B005A7-A097-4C7C-AB87-2BD98A8D8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B16AF2B-A514-430C-9852-7F5B46FAE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585A4E5-87C9-49A8-8940-6CFD563447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0794C71-5F6A-4B8D-A81C-96B018DF8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E82CCA1C-112B-4489-8D9E-BA2CCB5C59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59598A5-A300-4179-A296-EA032F125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C0B8073-8B92-4AD4-A28F-1ACE2E607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5D2C9B3-DAD2-4DEE-BF0A-E64CC0FD1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6984998-D092-4D24-BE61-ED5F22D64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C6E5493E-4461-49DA-A566-7289B5DEC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314FE2F-9118-4FCD-8BB3-29245DA7C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5DEABFD-7F2E-4A52-B5A5-70DBEAA0A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FDED0C28-6A3F-4678-A04E-2B6154EDE8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D8065B9-6149-4AE3-8904-2B24EF714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6A3D30D-925F-43DA-ACE5-BEB3932253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5C502FF-675C-4DB6-9A37-7CC91414E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EEE9EEB-2855-444A-A9B1-10B984066B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4301733-73F0-4F88-80E6-9AD8DEF49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671207D-11B1-4E70-B591-50E3DDD9E8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E9D6C4A1-1EEB-426F-9CEA-BF68FD4D8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00D5448-F30D-4605-BEFE-AEE29A17F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CCED28B-8651-4EA9-90CA-6BFE7C3AD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B475226-311B-433D-9FB6-78CE770AF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E69D3977-BFF4-4C22-8380-CC5D17B53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F4E0FE52-68A5-48AE-A3EA-9E5C5662B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7AB5D8E-0CBF-473B-B8BF-0DE9A9112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5A4ECD3-FF21-4900-B196-B80657512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62687A3-AD0B-498F-A6FF-897BA10172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14F50BD-9759-49EA-9BA9-565263C658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791EB78-B09B-4DFB-83EF-A398ADC307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AA691D33-BB45-4121-B99A-565EA6F635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896E36B-1D77-4FF5-A7F4-B205F88D9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60D01580-0650-4ACA-835D-0E62523DFB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0761AA3-5D27-4A0F-890F-E2111B38E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9CF6A93-C983-4AD2-9CE3-E47AD48285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4C5163B-17C4-4A39-AFDE-272D13C876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10D4611-31E7-4A26-8DE2-12BB2D9D7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99C1525-49A1-410F-A7D3-BF3707FF1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184D742-0BC8-48F9-93F9-E7859096D5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F9FF5D5-887C-42D4-81B8-20223A75BB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93D1126-E485-45E8-BA2A-BC7E0C3BF9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7508809-88DB-422A-AD38-41A7007EA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E15E3D5-E6A6-4DF2-B0D4-D00B0EFAD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51B73CE-5112-4E64-81B6-C68473CC8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CDE3CF7-2BD0-4B7B-AACA-35153BF1B4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C7D5C41-62A6-491D-9B98-5CF3354FFF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B09439E-60EB-4C04-BBB0-5957673A2D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30195115-BAEA-4B2B-8881-01ED047171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EEEEAD5-814F-493B-AF3F-BC33737618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280832B-429D-449D-8E37-298659927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FB834369-FEC7-4E83-9CC1-D351C8F8B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3EF04BF-420D-46AD-B8BB-BA9C46873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BB84643-5985-46F4-9F74-B2C0462579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A612C60-4211-4D21-8490-12B8B1622F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3BD7DB8-91D9-42DF-ADB8-7ABFCF0A05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DEE423A-75EA-4514-9DFF-57F54D339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68CBF4A-868E-4C25-99A0-1B279382F2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6DAB92F4-56B7-43B6-98B3-13AAF940C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5ABE63D-D55B-4A26-8382-54A668CAE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0D47F80-C958-446A-9391-672109698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B64E7A8-57AE-44C5-B76D-550E7B75AC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4E9F5B3-CE4F-4B70-B37A-55B108522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73F7307-220D-4685-AF29-35A415F456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6A1EE65-3D5A-4A28-B0F0-19DF00CA12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19A4EE6-6C85-4D3D-9D4D-ED2F86629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7C010EA-F1DF-479F-81C7-3B822A58E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5E8D965A-B702-424A-B7AF-C4C2295D3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8CD347A-D4EB-4A33-B823-B069BA4F3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2F069D6-E84D-4553-8378-7E9327315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54811D3-205C-47B3-90AB-B48D28949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08C4814E-B456-47E6-857B-1B7EFBA152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FE90810-1472-4C88-8AD2-08DE1F1C10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D7BEA817-81D8-4E7B-A43D-2150966FF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E92085F-ED52-4B3B-919B-6C94E330B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4B9DDE3D-994A-40A4-B07D-A441713DD8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35C795E-165D-4D5A-BCAD-6DDF32348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5D7C1DA-C014-468C-B809-F621DE2DC1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920B3E5-C787-4214-B46A-074975591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8E172D9-F4F8-4CB0-ADF7-0FF9CF5EC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7E0BD76E-F5D5-4B05-8A4E-5463649994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01D1AAC-998F-4476-920C-0C38E5BB5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931DC37-2B61-4B98-B4C2-AB54210D4B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1B4A418-37D1-40FC-9C5A-D8F9940DA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5B31EDA-D915-4238-B2FE-7E7298291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B718E41-B116-4553-A956-2E1F64502F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0B46F14D-B2EE-4179-BCAC-40C6B8DC1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5C5C727-507F-4E35-9B84-099DC0907D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56867EC-6856-4517-9B9B-E8EC7AB5C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4FDCEAD-955C-43FF-B950-4C2FFF238F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8E6F6A0-3B73-45F3-BCA9-221E31173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7DD8558-9A1A-408D-8064-487620A6BB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D29BBCA-260B-4721-B28B-0F758C02C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6D5B8C2-36A1-4957-8522-6943B4CFB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F6894DF1-B532-44DB-BE9B-28CE3341F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164284E-3566-48FE-BD26-42BF789BF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48C05A6-32F4-4220-B04C-88FE2E66C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AB9ADC4-97ED-4E7D-AB83-553CFBEDA4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D07472B-E758-4C49-975E-BA3B892623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290D4B6-7B8F-4299-BDDE-42E7904B3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F6276EA-7FC9-4325-B4F1-3F3175AE1B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9351A5B-5AA4-47B0-AA9F-E48987EE7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82A48A9-4DE8-47BA-96CE-807F81656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102F87B-E2AF-4542-92C2-2739DFF90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3D05548-0ADD-43CF-90AA-44C36ECAC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638BA05-364B-44AE-8A38-98525FC6C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CC67C0C-915D-43DD-9D86-9D3CF25A2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A8E6E41-402A-4FC9-8A3A-F56F3F5E2A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CAFFAC9-1084-4F04-AA25-D365F5305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487CD04-439A-4ACC-BA4B-6FFEF16F1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8797F49-D7B0-4F81-BDC8-680307A60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5599E4C-752A-4B2D-836E-53542B158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2EDC80F-554C-488A-AE84-386D424663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0508C9C-149D-4918-A553-10044F4721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0E2CC07-48D3-4B27-8F42-F3CEA85377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7D2C6D3-04AF-4524-9D65-35C471046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B51132E-FDA4-41B9-86E4-6ADC810307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9DA0D26-AA38-40EC-8818-8ED1D8F15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A9867BC-CDB9-469E-924F-DDFBD71E0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C27C8A7-487C-42DD-A7E5-E9B253578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6E82A7D-82D5-4E5C-8763-B9A0E455F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2D259FB-5783-4266-9366-53B64EF2C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01522EC-CC6D-4F65-94EF-1A690E3EA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8C2F2EC-6CA3-47A3-94C5-3F0701C4C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C91F21F-014B-45A7-A808-8584B441DE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503E40D-10F9-4C81-B06B-3CF074B467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8D2ACA0-9588-4B1E-AABB-013899ECE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F3D89DF-6789-44B1-9DE8-7EE42F5B1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1C5A4F6-1868-411B-A8DC-FBC738EEA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9305F2A1-1063-430D-94EB-CF6623328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0B17D28-69C2-4C91-ACF0-6F192DC18A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353C6EB-5A4F-4111-A3E2-48EED8F813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1C3093C-E0C1-4D61-87A6-1CB1E34BD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5AA171D-0A77-4DBD-A2EA-A1589F14A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4B44E3DA-2FC6-413F-BBF4-302CE5E00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885F6B28-01C1-4886-8B8D-F00035374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C14C636-A81F-4C44-9D0D-A31D5C0C97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3DF16637-F14F-48E3-BAAE-1E0850431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CE212FE-33D6-4566-B9E3-639E7584F0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1CF2849-D879-439D-914C-59FCA2138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17CEC6E-D801-40D9-94E3-8D10F1830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3CA2CB3C-E241-4568-A9D8-3E804C4C0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9EA678C7-BB5D-45FD-A333-6C097A539F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8D13B30-5837-4382-8A24-39B8FAE9B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E022256-5772-4589-8E70-11C131300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D6244A45-3A18-49A6-BABB-2B4D22638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AEE4B842-D9C3-4D64-AE6F-7A357AF061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0FA2472-0E89-4868-AF11-8CCEC743B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2204811-6918-4249-8076-DB1B8DFFF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7E0735E-A7E1-4843-B05D-637771591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D896372-D949-4CDC-AB24-FD8CED52CE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82B04C5-C860-4668-8AD5-847F00A6C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84C88EB-B2E6-4DA3-8F34-7EDC3EFD2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F2450BF-CF79-4586-B6CE-1C712775E4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13F79826-99D9-422E-B434-E32492DF4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46082B8C-BCAF-463D-BB79-5815CA5751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F2E6DAB-02E0-4EAE-A717-2107F4879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DAFF148-900D-4469-8676-282D40440F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F2AE7F8-E9F6-4E50-B32D-0B76D3E78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11398892-C2A0-491E-9C73-237723A1B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82E92E1-076E-410F-9437-AEC6C59AC6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8B37C1B-D21F-421D-ABC5-A46BF9662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2DD8B2B-9389-4AEB-A540-1B7F257EDE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44E407A-9599-4D8E-A062-17E91D611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2F03CFC-E3E8-473C-ACD3-0671CB175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04FFEEF-AC0D-4074-B4F5-F67F19A91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10810C3-70EB-4792-A85D-101D73CE57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EB7BAF6-442C-440E-AA1D-FF2D9212BD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815FA06-CF39-4949-8B6A-23E202CA4A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6FD3628-12C5-4A8E-B3F7-1AA4B9C98D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8008389-CB65-48E4-A359-21FE29EFF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2547BF6-581A-4E61-8FEA-42DBC617E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84D62A1-9ADD-4FA4-A4E3-84660D390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8CFE625B-A70F-451F-94AA-41FBC5DAEB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7BF6101-CA2D-4D01-A74C-66479CF04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8EFBF66-0803-46D0-A33F-0D686BCFD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C7C81CC7-6969-4038-A5E3-6A60AD4AA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688CAF6-6703-459E-AC41-9DB7FC9EF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FAAA337-7F9A-452E-98F4-D6BF5F438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F9DA472-F5DA-44D8-A88C-4D2EBD7EB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16E56344-EA5B-4C25-8AED-28AE26690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FA5C742-F6A9-4A93-86E4-019CC68AD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1CE3C94-BB07-4326-A8A6-8046C22216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DAFD330-C066-499F-8257-AD405E292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29BD050-F11F-4CFA-A8AA-83CB2CC11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EAF603A-FF07-4E0E-93E9-9CBDD9A72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A205D8E-A9F3-4454-949E-9F1DAA4D2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92BED97-A4FE-451D-A3E0-3BF11BB10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1ACB094-9241-430B-91F7-4EDEA072E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1D26A4CF-385D-4338-89B1-6BD942146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09369D2-4943-47CD-9B24-064829D6ED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14F161B-C071-436A-A8C1-0250EE0B4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FDDB059-D0BD-4523-8F36-34ADFE1C7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EC5A39F-2C2A-41B1-8D1B-478DB4FCB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EC671E6-8080-4EE0-A5EC-B9D2F05AC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A6B8785C-73E6-44A4-8793-5C35F54241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99A5557-EBBD-4F99-913E-8607D0918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573D3021-3B58-4ABB-8857-DDDA30458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CCB2E76E-F8EE-403E-BBFC-98207719A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36514E98-0B35-4EF3-B749-597F0BBDC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B5E6378-6300-4CFB-84B4-0EE069FFA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8F628E6-0EC7-496B-AB20-C267A1A3D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01DAE6B-6F3F-44CF-98B9-345FFCEF3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D9547DF-6FA1-4C4E-AB1D-D530DA2BE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4F09FB00-B766-4B59-B0A1-A5635A2F4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99C1560-11E3-40F7-BFB2-C2BBE81D6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9E78AC89-F2C4-44E7-A0B0-733E1AC2C2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5B263F9-4B13-4AFD-BBDE-C20E76772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7FE24F8-90FF-4CAE-8EA7-9117887665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EC27DD46-6E2C-42BD-8230-86617A5784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6CA4F32-EB99-469E-9DCD-19D23E4B4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AF57981-8C76-4BBB-97E8-16FBF1E301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6A257284-CFC0-4088-B33B-4178D2E22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03778A0-D91B-41E5-8044-3A331689A8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5ED43192-6F5E-4994-9FF8-BA781CF65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10AF7A7-D21B-4ECD-84BD-4EB4CAE50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1216FA58-B427-40EE-83DB-10BBD8811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6B62217-7740-4A99-935D-8601673B7F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9E3850F9-349A-4698-A67F-B5153BB15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2FAD9FD-65A7-43CA-BFF1-3D6E217213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1981ED6-9078-4BB6-AEA0-AC46583CE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D97D877-3865-4955-846F-A31EEE2CF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00BDCA6-2EC9-4763-8A37-D4C97A1E5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1FBBC25-5ED0-42D9-AC84-AE7B523DF4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27D34ED-DD7E-45F6-9B0E-09D5C9E93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A624E83-0CF1-4BB8-8D57-A66B1EFE4C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63E04B5C-7715-4DA9-AEFB-09E95D25A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C445B26-99CA-41AD-B12C-6818582413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CB5B500-18CB-4044-8565-A090E80FB2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0ABA510-2F72-4602-8C7E-5355FC49AA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DBF2CEF-ABF7-4A9A-8694-3756565F2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1B1587E-63DF-46C5-AF9B-5FB33C3F6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9C6D7CA-A046-401B-AB68-B0655E66E4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AD76A96-F9F0-402C-AEC3-1861AB26B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35CC4B0-B205-465A-8FEE-F32B2D972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AF91D0A-2C63-479C-84F0-62E3A9644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9952D24-42B8-4BA6-BE82-C1F903300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9BC209A-FA72-4357-B478-C30F847513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0357370-CC34-4354-B8CB-51E8B8BC53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711F53D-994D-4DF9-BC2F-42A46D7DC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CAEC170-6D37-42D0-B6ED-B707CD50D3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361B1B5-B8CB-4EE9-910D-99A52D4D1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24DD95D-DFB9-4BEC-8288-29457D80D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BCDFA6E-0F0A-4819-BE08-1DC6F680B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6995B5F-FB7C-49AB-A8E2-C56E93D6C5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4806B1C-D2AA-4C69-A5A0-B8E7EAA258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E0AB5622-D1FC-47F2-A552-D60DE3E33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682631D7-1C8B-4DA3-8AD2-9F644CEFEA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477AF6DF-B85A-4185-9E1F-6C4B6A2B0D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3E5A1E4-AFAF-4966-B1CC-B70F70643D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714952B-158F-488D-84EC-EC05BEE39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C6C4845-C7DD-4E0F-82DD-85E180B3F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044A09A-AA9C-4912-81F9-74CAC6EE51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E6C8BB16-1886-456F-AE9B-888C417674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F7F88F1-50DC-40E1-9143-9842A0A2B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D52F89D-B6DC-4644-A683-2E5D94FB59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4F26843-A8D5-4F45-AE3A-922F3A3E0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31222CD-D09E-47B7-A1D8-F64CA1F36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97E5C09-DCD5-4CB2-8665-434292A5F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7623B02-F714-45A9-9BA1-9F66BABC2D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4C5872B-0069-4043-8E85-A8001D4804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ABF0FDF9-1CCD-4646-911E-E21F133269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042FDF1D-8225-4420-A0C9-E88936537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DD2FEFE-1255-4E1B-B61B-6D8A69B285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48B98EF9-59EF-4CE1-BF72-0BF5992ED2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27235B6-9FDB-4EF1-BDF5-074D04756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5708FAB-04E7-47F3-9721-035586465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75D3AA9-1F39-43A3-B071-02DD44895E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BD31AF2-9D57-4FEE-8339-ECD531071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BE10C46-81D7-406C-B0B0-98D93D57FD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94B04998-67C5-4BB4-B21F-021707E1B6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3BAA225-3250-4235-AFE1-F122BA3AF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7C07D35-AC08-4809-8ACF-5FE71F0AD4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EA13A6AA-7A76-4659-BAA2-5C4D6F539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72D64B3-50A5-460D-9875-FD6FB5846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92F46F0-6B28-4D83-BFD4-01C7505A0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429F651-C3DC-4901-898D-4B6BEEB1B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75347DA-247C-4A64-90CB-4F418B7F8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3CA48B0-876E-4E36-BE9E-0557A62DD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1DF0210-0235-439C-860B-EE36FCAA9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00F40E8-C495-4B74-937E-69DBD1FD0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2386A83-823D-4FC2-B116-99CF58EE7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2E81338-E067-42BD-903E-4D5E6F1B6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9F2C69A-8D94-4C48-A6A5-34273B5B98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081D166-4AF9-4982-850A-0E76A3ECA4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2040578-976C-4F00-A7E8-DA2ACF402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3711F43-7687-4ADE-97F6-4E1FA8CD6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931B990-8CED-4D28-8BA3-F19A8B619E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5B9C584-CE40-4521-8898-D9581EE55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3E8994AB-B9B6-424B-8A18-78BF576C1C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257F355-2E51-4D52-AE5D-498D5095F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1995C811-E0A9-42EB-8391-7E7986A7F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383C86A-E8C8-4932-ABC2-40ED1A1412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B7DFEAAA-EDF8-481E-B5E5-28A7E42CF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EEA3C59-710D-4FB6-BE8F-628096E889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2AB07D08-A9C8-40FB-83C2-CEB399849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802BE0D-B35F-4254-BC92-D4D29088B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71213EE-F604-4BC9-BE9E-2E40A4580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FCC9DE2-C135-40D7-9434-3B7C520A39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0D87C66-3D77-4337-BFBE-6656CB830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2556E1DC-D39E-4D3B-AE1E-60110B151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7EE8436-9697-47DF-AF29-2CE32D312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02B2D901-E7E1-412F-BED2-1EFEE417B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8022581-09F4-4ECD-905E-7FBB34066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CE163A7-B97C-4485-BCC7-CB23E6FDD9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2473FCD0-15CE-44DE-95E6-5FA3350AC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7EB960B-566A-4F43-81DD-2F7A3E703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79209E57-0DF0-4A77-9FEF-FBF9DCF17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3B2A7D8-0151-41D2-B139-0240EF9DB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907AC2D-F5D7-444D-BAF1-F8ACF9753F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044BC0B-D00C-41BF-BAF2-78A7A0D5B1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AC21E95-8F7F-423B-9C2A-C8CAD7814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EE17D0A-977F-43F2-95AB-472F022AF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9B09EA40-3D1E-4F11-8EBF-1FFF781647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2F5421C0-ACA6-442F-B5C5-EE02226D1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1F29F3B-45F2-4182-AF3E-6A78F398A9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E71470A-BE45-4663-A5EC-DDA16BCD5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23820511-0C68-4584-B470-596C1BBEB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1298926-C8A7-480C-A914-C9E792B0A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0FBBE5A-6A5B-408C-B028-EF7B18ED6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305AFEA-46B0-4B2B-9BED-EC3E7D2AED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ED2E78B-EE81-44EE-B7A7-A261E0B21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86462CD-FFAB-4291-A508-56313C8B9B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789D45C7-FB23-474C-92F2-1956AF840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E0589BFF-5BDD-4EF0-BFA0-DA993BB9A5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9D6FEEE-0C2D-468A-B05B-79B820493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14CB5E6-F4BD-450E-A36E-C7D09180D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7C01F30-4529-4F0D-BBF2-D0ABA30673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5C7B7D3-641E-4904-9E77-8A1AF7BA3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7AC69F4-BAF8-4BC4-8F2D-9FD0E81F7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6C4BD760-02AD-4A49-8931-F5A724733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4616868-64F2-418B-BFF8-A88A8F781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6B7FD02-BABF-47B9-AB81-13A9B2664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D4BCCAC-CC4B-4BC4-8520-0E58DED3D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782FC25-F84A-4D35-8787-9FC7CF26C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3F2DD60-B8C0-41B3-B314-A13380650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2073B39-2570-41F2-AE8B-2172A5AF4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DA6A22D-4F81-41BE-AA05-A51E6A859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7683F7C-C111-4747-90AA-A960047EC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666C26F-A08E-43A0-8440-249A01D10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E89E20E-692C-4907-A37D-BAF8326FB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1F4B0ED-3910-4A2E-9550-D39CEAFACE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94DCE04-CDB3-48BC-8019-CE03CEC9D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07EE024-26B5-43ED-B1EE-043C11AEB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8B466F65-5EE6-42B8-BB25-FE29F4B2C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3936723-A330-4807-8E37-E0170ED6D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36F33B9-73CF-454E-B04A-1F2DAC346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7E91208-A385-427E-8EC8-9ADA268381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354E83FD-0842-4014-80A4-9E99508F4E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576F797-B42B-46F6-B29F-0E51B0A38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5C93C27-5BF0-4CFF-A6AE-3851E900E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0278C6D-8512-4002-968E-A170A8C393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741C5541-D5A8-495F-BB40-D852FCE661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BF2FA90-3C74-4F22-81DD-8801EE70F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2671F0C-E206-4598-B975-6CD9F9086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3531BF0-B9E9-492A-A5CD-C91341330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BACCC15-5E64-429E-9694-7E28B3D0A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D3E5AE2-A8D4-4098-83CC-6DB3D5FBD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6A7D624-2B7A-49BC-AD71-F19E152A9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876FBA0-F199-4A72-A92A-62ACEC231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40400D6-5D5C-4073-8A30-422F273704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1C64B1E-318B-4563-92F5-32287B2E7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8CCFBB89-BDF0-4D44-9093-7299D0E960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842E5AD1-07F6-4A0E-929D-1908C28017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D3B07EC-C9BF-4E50-BDF5-30E423246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6F5769A-55E9-41CF-AFB9-9FCAB7006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6192CF4-C0B6-44C3-AB62-C3A05E2FB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5E7DDB0-10BC-4934-A4B2-B14342029C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12D7DED-9469-4F8B-82A0-DA092FFFF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006FD9CA-AB61-4B0A-9A73-471ACC572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215F4A2-57AE-4309-A7EA-8EA1635D1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F4BD7A6-584A-46FF-B94A-94D881ED93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D36B57A-42A8-4987-973D-5DC59B28FC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5F2AEDE-001C-4852-BAA4-E94810CB0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690D38B-9EA3-471B-A735-E079C908B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DEF771C6-2BA6-4C71-AB5F-57110EE94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442DAD4-4628-4757-B33E-C0121DA52F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0926DBE-C853-4193-B05E-CB4BDCA04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3820DD8-051F-48FD-8A1B-2ED911B1D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2A89410-757A-4575-A419-46B4A0E86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A98F6F02-83FB-4E83-9510-98CA84EA0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C3147CA-8EC3-4AB3-AA4F-69D48F686D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81A519C-2E9F-4FA5-9A20-272FDD6B98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E53013C-E51E-4F20-8329-84DE14553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9D53681D-570C-424F-A540-F156EB0B4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ABCF09F-049B-4D16-8AD9-458C41CDE4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1891EBE-7B5A-44EC-B758-416813DB5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4EF61AA-A335-46AB-A2B9-0F9DD8B9D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F4780A2-34C8-4DAE-B298-D7A9A4DA8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1A26952-DD97-47D6-95FE-CDD1006A77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DE8420A-9F13-4882-ACD4-583539FE86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E8A4EA6-F99C-4B58-A3C8-5E42E0920C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86FFC28-5E22-443D-BB6B-ECFC6E57E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C1E4FF8-9996-4DB1-A0CA-92426DD26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CF76219-AF07-497E-8239-48367B47C1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D683A5F-D6B2-4A77-8265-69AB0026EB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26DA09D-8089-43D6-B594-CCC7916D0C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8AE4223-B1B0-4702-9A9E-0C76CFF2E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8D7ED31-01FD-4617-80C7-8AC7318AB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A7E95FF-990A-4EDD-8A17-C60BBD8CBF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D92C90E-7087-4CDA-AA71-DEC0AF8EB1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0E80DC6-1452-4690-BE75-E68CF2217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BF1E5EB-C613-43CF-82F9-9584C40BC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DC938ECC-4E29-465C-B1F8-552EEFC23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CB73FC3E-EA95-4E05-A2F4-A0877C520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D66634A-769D-4F69-8CB6-0AA2A4664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F179129B-96B5-4472-B85C-C49EC28179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87E1CB5-2DC0-48BD-AE56-E2EE98C22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D9BE39F6-ABDF-4ABB-A06B-1BD9772F64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72CDA62B-252C-47B6-9241-6474B5A094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9DA11597-B00D-4629-B703-9AAD2177D9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F3C1B50A-989F-48CF-BA6A-112268943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0BED240-4DDC-4E22-9A89-207946C73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F7B86AD-4ED0-4C72-B6F8-A2D5209BC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4B4BDCA-9EF0-4455-B55E-03A94EBBA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7772029-1BE4-4B5E-9A8F-0B834E6C7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D8EC7AA-43F7-402A-B959-7250BE4E7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705D96A-90C8-457E-9376-98264FAEA4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4C6401E-FDC7-45A5-A0B0-57F6C734B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27B6A2CB-7623-4ED7-8F52-EC12DE480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F829F36E-147E-446F-A4D6-D26E9CC36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490FAA7-6A65-4720-99A6-137DA6006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63582FE-31BC-4E2D-B8A6-72FEFC2A9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3A7FF74-0A5E-4490-A085-E6FA0A18C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FB04FF1-F4A9-4811-BB22-6433855D39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3F547082-A763-4EFC-8125-3F74B6D4B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8815094-682D-42F2-A699-29DDD19962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A4E2508-4F27-41DE-827A-4098C10219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43C2FCB2-44B4-40D3-8033-714BC8DC1F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CE3FD9DD-3E1B-4B1B-AE83-03A5D0BCE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9F8E463-F8BF-4377-9967-BA0BB293A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DE8DD89-AEC4-467E-88D9-04602D955F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8F9561F-87AE-452A-B51A-A36253BD6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01D99CDE-ECDE-45C8-8C28-945FE99328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C36E78E-2C33-49D4-A301-45A4E4F925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5033C0CF-E245-4DC5-92CF-684EC1AE35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F65DC8A-E351-4AB0-A6D4-BB6E29D434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8CB207AC-2A84-49B8-950D-C6AF7EEDE6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D371A1E-05C3-4F00-B631-DD9D62F331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98351B5-B4BF-4F12-ACC4-8D5E7324C3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7B7838A-18F1-4F04-8D89-F36257E9B9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9A9BF3C9-E9C9-437A-B172-22BD4919A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B332D9F8-E9A2-4260-9D82-C11AA0D85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4EDEA96C-E45E-4639-8202-65B6D6DDF0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81BE69D-C3B5-433A-898C-4397480124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8DAF6A4-CF2B-4BED-8E1F-27F350B29C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79B249A-8D1E-4594-A9A3-1B64AD43B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AC5B02F-F12C-4293-AE82-F16E84FC86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C456D53-8B28-46D5-A018-DDEDC57DC4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AADD18C-E0CD-4B45-BC64-D996B50AFC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AA1ABCB-ED4E-469A-9F30-02225D24C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7D40580-71C0-4B29-91B2-68A365D03B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AF30559-5501-4704-AA88-18AD694E7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55A21D8-BC1D-44A9-B629-0F31D0ADC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E7C46A0-1D91-48EB-B95C-5D3972485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DD1354B-322F-4DEF-9EF4-2B6AC0A8D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5D1F5C6-0190-47C8-9563-7FEEBBEBC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915A76E-AE8C-44A3-89EE-E3DE5375A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4147DAA-3319-449F-B7AF-304421E80B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B31F04F-EB69-4803-B64D-387A92102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CFE3DE8-4140-4004-B7BF-9BCD3F637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7880728-A79F-4F12-A98E-924DEF20B2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74F1AC3-A68E-4877-B641-040093E9DF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F4B0646-9341-4F3E-804B-50A1371DF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4731240-7C4C-421A-9030-455601EA6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A717F23A-3BCC-4AFF-9B4B-9F23FFB24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0BAA74D-BE7C-48AD-A8FF-93E10BBA3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29297194-3864-4A33-A19D-097D24B123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8B1BF7C-13A1-44AE-B955-8635D8D5B6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5D3FA71-4F93-44A2-AD0C-0BACEBC1DB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D617256-2E2C-49F7-B97A-A3974296F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A113AEA-428F-4827-BD7F-B2A263F696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5C72F59B-F95D-43F8-968B-686E8D507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C9E5218-EB0E-46DB-A519-D9E134461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EABD0F9-BEB2-43A0-9F7D-52E2262644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32655D9-B3AB-493F-AB67-1E93CC199A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3FCAF7F-A12F-4F88-96C7-C427891FE9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17D67A7-E99B-44AD-BD5A-6519504F5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95C5495-389D-4EB7-9B79-DC2DA78C0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8FBDB84-F29B-4FCC-8F7A-5C4B48A89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3CAE7BD0-1EF0-485E-8EA7-60E7A55B2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874793C-4E48-45D4-A120-231671FDD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5DD1165-E250-4D26-AD12-911CD6D89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789529B-2BF7-4531-8155-80B45C9A6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E65657EC-F283-4BFE-80DA-4D9E00513B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DB52C1A-115E-4985-B898-38EE0CB6A7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1B1F0F9-95E7-455D-9E8E-766727F6F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2F9316C-9F80-4247-8A3F-281300F73E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49963CDF-78B7-4E2B-BBD7-40273E00B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166A9AD-2EF5-43EB-A0BE-5CD241BCC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A4CD6D0-D710-4BE0-A261-4C5071CAA5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3E1ECFA5-1E54-499C-9896-F0D666DF1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36EA6D3-EFF5-4133-BFFC-5F38420D7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409DB5B-B75C-4CE0-9C9A-988A8354ED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A87BDDA9-142C-4B40-9B4D-5844F49460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36DD0753-B589-4998-8805-71678B507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17C621D-E926-444B-B625-56C1C87CBA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C55FA20-2D43-432C-AD08-A5C972DA7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C1D14C7-C3B9-4963-A50D-7D6FE570DE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B69839D7-B190-43E7-9D75-7B874C9B7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A272B82-E572-4F10-884B-137C7F440C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0FB3CEB-899F-4FBD-9F19-59135DB9DD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49519B1-C51C-4BB5-9880-4E17E1B5E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44F7401-8FBD-4CEA-92BB-62845134E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BD64296-48D0-4A13-B8D1-346614992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4F559DF-A629-45C6-B74E-88F9C25BF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142EC0B-FB52-4467-B239-667DC1B09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91535EB-BAD8-4C73-A203-960F60B8B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7DA1F8D-C0A1-46A5-9DA4-E0A4D1099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BBB4C9F-9F4C-427E-9CC2-313062983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AAA63FA-F635-45E0-AC4B-8A2591951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780F2E5-E5B3-43DE-A027-7C76CCEFA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E01AEE7-E1B2-4ACC-9624-1D0B8C294A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67E6A73-8343-4CF6-9AAD-E50B19E2F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3586395-A8A8-4484-AF4D-985381D2A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7BC0A64-D064-4599-BE3D-1825CC6557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A8D94C4-F2C7-43C3-AB58-6F084569B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60A53BB-AA42-4654-903F-04AAA3752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04C1551-A491-46B9-80CB-AB51A4D95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13CFED6-735D-404C-92F4-11AFA3E860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067D58F-00FA-472D-8036-2432786A7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8CF5246-E99B-4319-A2A8-1A2D307979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43A7336-6A20-4275-B35F-67106920C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9E63B46-D669-47E4-961F-470B23734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E7F6DBB-81B9-4D74-8596-217131E30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AACD932-1DD9-4A83-83B8-02AA85C04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9C29977B-119F-4705-8DF4-B21C593F0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5AF3E0B-7F41-4DB8-838A-DB2B2054CD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28DAA382-823D-477A-BF13-ADDDD0E89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4280082-38A2-4311-8496-6ECEA8E25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C2E6310-DF2E-46ED-9292-5B839262B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275C452-AA88-4CF7-898A-1E5A600E8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D69E425-8F51-451E-83E3-2E5B651C4B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6A8D78B-E159-448C-A512-4DF4FD5EC2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9653855-0DA3-4B0A-97A2-F11282EAE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7D48C2E-B0A7-4D8E-823D-8790CF46AD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0E549E7-AC49-4AB9-8127-C1ED4C3EE2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74B721A-7483-4E43-968D-5AACB5E58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E3B279C1-6CA9-489D-AEB8-2E6C81675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721C3F8-BE45-44B4-A819-C4FB809E0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5BDE6EC-C22A-4B00-A9BE-B11A8A507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AE9FDCD3-86A4-4669-9759-0052DD0D7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DD79C99-91DF-46D4-B971-0531B6F4E8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0A96968-B173-4962-B8E5-5388FB15B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35734B84-C5B3-4161-8EF6-B927A0F98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2D916651-E90A-4A41-BCD0-2621FBE15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A54B5F4-9EDB-40F5-AB03-A2107889F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083FA8F-1FA8-42A4-9845-A6609C0BF9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FD2A269-1CEA-4175-BBF7-3E594CD9AC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538EA280-7365-49CB-A678-963512C878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4B7C2CD-17F9-409C-B0D4-C1E30C333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52ED661-BBA6-4488-8CF1-E5ED90148B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5411054-116D-4FC2-B29B-C2C7A8C064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B66756F-A3F1-42ED-A404-58BD7EF05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ADEA0A5-34E0-48BA-8F38-9216D46E0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A1D4822-A665-488A-920B-787D8AB763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132C283-7108-418A-A278-F8E39F5F0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E7075EB-A592-454E-A535-1C704D86D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E6091E13-3CE5-4DB1-AD07-43409561D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AF20BC9-7C35-4A37-9AC4-56D8218E8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35BB662-4CA8-407E-B28A-91FAAFCA28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A452CAF-8DFF-407C-9CF7-83288D197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22385B9-8A11-4559-9EB2-7BCB2C534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8CD8AA2-AFC4-4E22-8D3A-DE666F2E2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63E2FFF-399A-422D-AB54-9D5DCB8D49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C19115E-5977-4124-8073-5CAB14282E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2F9533D-A9DF-4741-9B69-0021F9174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AEF5D64-A525-425B-A05F-1210BDE79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CE7B50D-935D-4B52-8D4B-B8CAEFB01A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D8D8AA0-583F-4F5F-BBDA-D1413637E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375E650-157A-4DBB-89BF-896D6BC29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4727265-5580-4F2E-8478-47CE518D1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0F41F8D-AB0C-4DB6-AFC2-8506D26488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C936CB8-8304-4D0F-B20B-0D73443205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2749FFF-FFA0-44D5-8BA6-F31C9E3A6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DA58CF3-62CE-420F-AD0F-7A4250C1CC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DEF0BEF-FAE9-491A-B9DF-39B295093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92E2E16-84F0-46C8-BC4D-6B59D35F7D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9AD58C73-297E-4B7A-B368-DBFFA9447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539B468-4644-4E6D-84D4-46387CC0D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EEC69AA-2B7D-4C8B-9C7E-1E627A135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AE438B3-8FC4-4D0B-A738-DFE098435C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0C00870-E3AB-4F61-80E1-EF872FF20E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C16C1B2-7276-4045-85E9-3238EE615A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722D1C8D-AE87-4278-B7D0-D239CE580D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B9FE406-7AC0-48E9-97B4-75D16BFC08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325876C-1F1B-4B3E-B8F9-96386EC8D7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3D08CAF-7EE0-4BB2-A831-4C1CADD7B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60FBFBB-6763-4A19-A723-669D7D1DA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7B1EBF44-641E-4AB7-87F8-7DEA5EE00F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3F0C7E8-E0AD-468D-ACBC-5D02E0FAF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9EE2C4A-C183-4542-8253-35DA0EF71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F46ABDC-AD3D-4F98-A0B2-5FC04097D9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12BCF3B-A1E4-46A0-952E-0A6616943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F116FA7-B583-416C-8CA9-0151F7ECC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F4BE4745-7506-4BF9-AD65-575A5FA46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6266D94-8025-4769-A6E0-2186BDDF4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F238B25-BBC5-43BB-98C5-94FD982E9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539A1BBD-AEF4-4D7F-B9E8-E9E6C3D187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A591293-D217-416B-890D-A9A246DE6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70FF97E-301F-410C-BF7C-97956C8A42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8DD3618-DAB8-4B61-A0EE-6537F6DFA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F8636EB-B47F-40D1-AE68-A30594752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3006EB4-8657-4C32-A07D-0360C39BE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DF722C3-2B9A-4D69-A05C-15D02CED97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89F366F-6377-4A98-9F75-499997BBF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F954041-F9CB-4014-80E6-BC1446BDC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EA13EEA-1CE9-4BFC-BC01-256A50563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31022BE-BA66-43C8-9B09-F62D7C4F6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F844A42-A851-4EE9-8C85-A378730B07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241EE1E-5939-497D-8ADA-ABDDFF557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4136F16-0379-4A05-B16D-9A2B18087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6998881-28D7-4E06-8FF4-8B760D17F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5B31BE3-84EF-4F3C-A04B-39B2BE555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55D96FD-88DB-43DD-80C4-FA806A980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CEC85D9-438B-439E-9230-C93239FF6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467B167-14E0-4A05-9EDA-D8D46BD05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C462AD1-54BA-4030-9493-191775E107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BF5CE2C-54BA-4831-B1B8-9D4E86FE8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F53DA08-432A-43C3-B2CC-D8C3E0D0B4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9ED1BAB-C5A1-4EC0-8DC9-CB5591F0C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995AAD39-B020-44B9-9973-1BCEAA63BD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C072D34-949F-44CF-9BA4-48E28A6B5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99486F7-AC10-4F08-BA3C-BF01D462C6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97B3976A-6D24-4DDC-899D-3A0A931AA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4AE40CE-8224-455F-91A8-EA41D6A99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6F9B70A-AD0A-472D-A2CE-7B049C6DF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5A84CF5-6D26-47AA-8FB6-00330108F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3C738A2-A3A0-4387-95FE-8C36E113B2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D09FD24-87A8-4346-B631-672096D9EB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8846760-A62E-4490-8D05-EC6116E65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136E893-DA7E-41A8-B2B0-AD84CB0C45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2D25E8F-19EE-4BC1-B3A2-53379E599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1568EB88-9C02-43D5-BEBB-F9933BA3EB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817F25C7-5BDB-4A35-BAEA-C0A397662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ED79DF73-B6C3-4ED3-B763-64D5B81C7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A84EC8F7-5FC4-497C-A7A5-3FA818BCD3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7974FE5C-F00F-4465-9F53-67371AE0F0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BD76E8E2-2D1E-478F-AA18-FF8BB2AF0F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9064EE6-77B3-4207-9824-C0608140A1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03E0E03-856D-48D5-8765-DAA04E806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896F9433-B0CD-471C-B210-59155D3C9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93B284C-EAA4-4858-8BD3-FBB8A558B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228321E-026C-47CD-87C0-FDC490359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5BD04BB-7079-454D-A576-DF0B566E55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5875CE6E-4058-4A34-A2DD-7D08EF46E9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537030F0-A28D-4F8B-8FEA-58EB7A477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40D5066-174F-47DF-9AED-C3624D7A1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E58D86F-4DDD-4817-9012-9A379AB83C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9CE0184-B5FD-48B6-958B-D82391402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68F0EB18-6EF8-44BD-B268-9C07495663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9DE043E-7B58-4A23-A877-8EF1EC423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1CB24F3-5626-4254-B9AD-9401ED9694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524C777-D97F-460C-AD5C-B129C2D668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A35F097-5D69-4A92-8759-57A44118D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9E3DDBD-B9B7-4E45-BEE0-88FF579599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D970BC7-1B4E-42BE-AD2B-45BF008A1A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AB6BCA5-9C42-47C5-919A-4C0424F135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15D901C5-244C-406B-AA75-A1B4DB3983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E17219B-E2B2-4939-AC96-986E5E4F8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7FBBD68-ED22-4F50-8558-73914D54A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471ABC1-21B1-4DF0-8634-8AA7A201B6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2484BBB-31F1-426E-AD0A-CD36D5806F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7525F5E-2AF1-4A41-A98C-4CACB1DCD7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A58AAD5-0418-4DE4-A0DB-EBF4EBCFC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2D25A87-CBDF-4F32-ADAE-BA60E506C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D3CF47C-68C7-4580-9720-79F0D4E46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520C554-AC11-4A38-A1B1-BB319035B3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6ABE432F-A7A6-40EB-B363-43C641B75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1DB59C0-4364-41D8-8C1A-CCFA5526F7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35F440C-18DF-44F6-AB27-C6A11C9D2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5885F2F-8428-41D7-8F5F-873F06B947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56F7D71-4034-4921-BC8D-160E7E20C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35480F9-7432-45C3-861F-E0650BA37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5D14A72-C968-4C88-9410-9CC7EA06CA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59869A1-4005-4A05-8478-5D8DFE0DD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E76CA6D-6CFD-429E-9A58-FCA94A448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562E46F-17B6-47AD-8951-901402F05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7DE9DF3-4D9A-4C68-9048-AC8398539A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900301C-9034-48C8-8230-5DFE6067D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2FD919C-D694-4DCF-A85B-3DF4C2BF1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13C481F-11B4-4283-B571-CF662C00E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88FFD53-79A7-4ACD-81F5-288F5F6623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C85A1BD-247E-4059-BB04-480129398A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194C6B3-C3A7-41FA-819B-84F483D6E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C0BC081-2019-4806-96C4-C087FCB81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29457A7-DB8A-4782-B4FE-A1B37A16C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33533BA-0A7D-49BB-B864-A517CF6CA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B91613F-0B74-4706-A1E0-02DA300F8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32AFC06-61DC-4A5E-8E51-8E8FB5B83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63F77B2-F8EE-4A63-ABC6-458A40BA4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D0BC28E-8089-43CA-A102-610A90BFE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A83B585-5FC6-4E0F-922C-AC8BFC90B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FFB8FA0-E6F9-4AE6-AF7F-4A7BEBCE08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2BA7C5A-BCC8-411F-81C1-94FAF891C6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9FFF97C-509A-44E1-86DD-3E8C6890C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7DCA3DB-2696-45A7-ACF2-A9D7DEFCD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2FAA841-C0DE-44A0-AB01-4EA2411F2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3CC79FC9-57F1-48DC-8B3D-0B9663704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2013123-1072-4488-A381-78B1D4366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FE9ECB4-61A7-4F82-A7D7-B11FA423D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51C208F-4A94-4B6F-9AAE-F9D5CCD5AC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577F5C74-A1B2-4C1C-ABE3-A7D65A2CC6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FB07CE4-B356-4A0B-94E7-BBF4455DA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E2B8ABA-39E4-40F4-BA02-FF6A4343E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5E8FD83-0B1D-4A02-9E63-B9E52C6BB6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C73458D-7BD3-494D-B300-3A35778E8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792D06F-A104-4D0A-AFC5-1454B3C5E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D4621339-30E1-4795-9F82-0CCAF9CCE9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6A3B329-09F0-43F6-A74E-2D41AC127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C12C81D-025B-446E-8880-9BF526EF5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6810941-1C96-4321-A8B5-D0396626B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4A607589-698A-4CF0-B360-CA31FB5893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2154603-465C-44AD-B77B-E69156230C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79D87672-18B3-46EC-9F2E-5A21D2EB2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BBF58C8-128D-4788-B34B-74111DB33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868BCCD-7675-4905-85F4-9383E7143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1E10C928-0137-459D-BBCC-B11B37EAB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B7C2C14-DA74-4305-B366-335D52C83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9646BE8-CA1C-4767-986B-32D23952D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3543E42A-898C-470F-A35A-4A1D10D73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403E253-83AA-4798-8BD1-14B7887EC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A270FE2-7E94-46B3-987E-7FBEC5584D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3E1B332-267D-481E-9C3C-414557854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4D7D1C80-7A98-4EA5-BEB2-EA312A905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1740F2D-A3A1-46ED-B81E-7EC79F0A5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B801CBC-4161-4E27-BC18-AB055B7EF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7F393A20-2915-46F1-B1C3-39040ACBD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F95D6E1-AA11-4134-9908-A3A65A8EC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FFA4F11-147C-425E-BB7D-E9CD828B1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4683623-1A2A-4860-8E8D-152755FA0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8408219-3642-42C3-B683-71AB2DDB7A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9CB7D45-1817-452B-A2F8-FCFEC2474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525D46A-E5E3-442A-83EF-FB5BEC7BC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C69F4A4-7C40-415C-A1D6-5A35B67D4C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C31C05D-5C24-403F-9E15-54B6B9166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BC441DB-5885-422A-888A-10BFE0D39D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7E5EBC1-2DAE-4680-8346-C34510678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CA24C20-203B-43B3-84B2-D0074240C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C91D190-A9BC-4AF6-88D6-CF1C4E44B9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24DD308-C8B6-4905-943D-87B6C98DF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D71EE16-C868-48F9-91BB-1F6A731F3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1D9EC152-9B10-4BF2-BA15-A8F7D1A9B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781629B-A499-45EE-8686-2F8664729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07B7B6D-09F9-49E9-BF3A-C86709C6B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13517B7-1B2C-4929-BFC9-37C0C97988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D30420D-5136-4049-AAB3-58A32D333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B32A452-3AA2-4B5B-BF28-AD5B188768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35F45A9-1E74-472C-AEB2-811B95D3A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259E719-5723-4EE9-830A-AF3E65F89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F9725F3-16FD-478A-87FF-5F5DFEEA2A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2B08EDC-614C-4342-B9E7-E486FCD96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4418245-4653-4889-BCB7-6FC3119A81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6AC9195-7F8B-4A89-AF52-1E51EA83D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788FD35-7316-43EE-B2F5-57FCCBF6D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9CC943A-159B-48C2-9698-BA89E2DCB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9E7DCCB3-6586-4713-B816-06A6B0212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A747464-5689-45B4-B10B-9C6617617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73D92CD-F71E-4E5A-B91A-D9B87C2AB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0EAA98C-0FB0-4E69-BAE8-C3E61185B7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88076FF-BB41-4BB1-9F4A-C8ADC962BA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31CE29F-1FDE-4569-A130-4535E39435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ECD507F7-1C26-4978-B4AB-DAA6EF1913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A9B59F6-4695-4B24-9660-BB4906B95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C66B68C-8B2D-4C4E-8440-63427BB33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0C5389EB-008F-4812-B69A-581A4CFD6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1DDD249-E58C-429F-B1D1-4F6704DEA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95B43C17-C5BE-4931-A570-6888D257E6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9EFDE6B-B578-49F6-B154-4C7BC853A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95EE40B-7B3D-435F-A97F-6621DDBF2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03262E77-B0B7-47CA-8757-C2C64839F7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E30329E-ACBA-44C1-A35F-CB18F8278D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559004EC-83D1-4F58-83B5-5CEE38912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17C9068B-607B-49EA-BDDC-10B7FE44E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FA4BB4F-A771-4C5E-95AA-B252BFD12B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D98480C-5C35-4BBC-AB30-36E1ED066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CE895A9C-5723-4935-90A1-FBFBF09AD7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82D552C-B8E8-46DF-B1A8-2D98E53157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2F37434-39C9-44F6-9828-DD1C8E502B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4F0F49D-41B5-4935-9AA5-B47BA3664B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685EEF3-7F61-495D-B3EE-1ABED28938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3F9FB68-6F88-420C-AE5C-3310C673B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20AD2A4-BA23-4C9E-802C-66500A9465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6500E9B3-08FD-4074-BDAE-22A3B00617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6A2F583-2C9B-4BCA-BE93-87FFC7E1C3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3CD337B-C635-4938-93BA-D7DE868E7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F8D9B95-2152-49C5-B69B-CFFB43782F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9D1FB16D-7339-446E-AB07-DA012D558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68CBB49-C109-4B4A-B445-06D034C7F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1C894CB9-0C19-44A7-9E0D-A5DD17621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0075D95-6A3E-4A46-86E7-EEFCD06EC8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8B87134-D72D-46A6-8241-7E48B19CF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53F12FC5-66CC-46C2-BDFC-6D0B37153B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615829A-271C-430F-8AF3-1BE4B3E10D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5FB0E36A-5AC7-4675-B7EB-1419366A58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8F12238-96DA-421E-AFC1-4285676797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AB54941-EFF4-4021-B7B6-1DC7F02DD8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D906F64-FE54-45F4-A871-972128B2B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FBC219D-38B3-4154-AC81-AD04E1364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2EFEEF1-0652-47E2-98A0-F0FF19BD32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6BE473D-F8CF-4FE4-8BAE-E04EFB8D8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1C55912-96C8-4469-9BE4-21AFD5912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EAA866D-6EAB-466A-9620-9FC967F4C2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27C3BBE-6504-42F1-A41A-271F414144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36FD3A39-97C6-44B4-8FE1-BCC8B2660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F7CD88E-145C-460C-905F-CEDF6C49B2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3AA9BD4-FDF4-44A0-9277-446650B05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5CC426B-034D-4E05-A472-356C43BF33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FAC5A1E-7B3A-4EB6-A11B-BA6CB36A95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165786D-F0A5-4835-87CD-7EF742F1EF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3315C826-0834-43D8-A4E6-AA632CCED9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9A74AF8-1E56-4F52-B44A-DCC6CFF99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6E730ACC-E877-4C98-8829-0AAA8E64E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4AFBAD3-25A6-41D8-88BE-82003EDFB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DB3392F-616D-40CE-A159-4C80901F7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AF73B09-A8BA-4879-ABB5-E4F413364F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B0EA74F-38AC-489A-BC02-FBDA995254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292A859F-5571-4070-BDA5-6FD6AF2C9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F20134A8-2DD1-462D-849E-7E92D39C3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60904C3-6211-49F6-917F-7BB859FC1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9E50D72-485E-49E2-9CEE-1D85FA5A2F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9EF172B-08BC-49F2-B84D-6132C4FBD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EA7A928-B3E5-4438-849C-D70ACA9D2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3A249923-6FBA-4095-9ED3-B16FDB5FF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718D711F-686D-4A87-9377-D95B800DA5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FBED8B7-D21D-436B-8D76-38ED5A28D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41F22F0-E4EC-42C0-A20C-77C3CE2369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C0FCD5C-3682-43B2-966D-87E25DA7F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77A4380A-116A-41F8-90F1-312F665DF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8A363C8-E74F-45CF-87A4-B85506197F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E933106-8224-4A5C-94C6-0C224DEC6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91A211EF-5264-4F86-BB46-E3B477D51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458DE5B-106D-4DE6-BDC4-9754CFB02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61B5A79-EAA8-445F-86B3-F787B399B2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C74942B-36A3-40CA-9F3A-341D875C8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C27F905-5F98-4073-A51B-68125DDAD1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AD072529-C218-45CC-B0C1-C39DAB9DD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9326522-A1CE-43AE-81A8-BE363570E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DB5D53D-02C1-4FFB-88B9-D7B9702A4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DA9D46C7-BDB9-47A5-B0E2-2587859EC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3541623-308B-426B-93EF-0BBB72BD99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824B0C9-1544-4743-9B6E-4AE2025530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054EF58-4519-445A-8669-9269ECD8E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9A56B92-36B0-4C06-A920-0FB9FE0E3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5134256-7506-45F8-8623-B22AECE45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7FA9A2E-C932-41C6-9CFE-411E9F406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61FFA2E-17D1-4315-9FEE-08320105D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F5F73BC-6FB2-4151-AF4B-1BE8AEFED7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9E01764-35E8-4B56-9157-672760030B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F3CCA698-0556-45FA-B88D-2F1581062E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3C02274-F094-4428-9922-DA967356B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7B298807-C75C-4849-97C5-AA4DCB754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63E51E8-D579-4880-85F8-4AB21CC3F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9161D5D-056E-4CF7-B9E2-C3DBF4E90F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AE7FBD9-FBE6-49BC-BDB8-90EC0AE16E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E667A0C-2C36-415C-B2FA-8D699CA97E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D7347E7-08CD-456F-BC32-A1EA45D643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A3A719F-B234-435A-9CB7-07CF3FABAB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0DAECF1-8EF3-426B-BD64-FF8DD5D7B9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F33C8C3-0030-4C98-891D-EC66B402F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90FE1A03-AEDB-42D5-B23D-AAF3649E80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44739D2-3124-4F8A-B06F-8A0008473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BEB444D-23BA-4748-A65D-803E42A1A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C1BDF59-7154-40AF-863B-D2130D93F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7011A25-CD3A-44EE-BEB6-72F482188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517392D-5F17-4B08-85DE-C221B76CD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51E7941A-9E11-4C60-8CA3-E0D047142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D1B5A0D5-0A1D-4372-986F-510DE6BB9B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D4ABF658-6EDA-48ED-9068-6772D07FF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DBBC770-8078-459B-8655-EBD81AB643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83C465E6-828E-486B-BE94-B4065511B7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337FEFD-EBC3-4922-8EC4-C07B22594D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0CA1B201-9131-463C-B212-814784C2E2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F1F82C0F-3FFD-46D6-804F-10EBA1034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BD6445A-33EA-4DAE-A104-09A8867FE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1A895F1-CC44-435E-9448-B822EF3D9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D9C2CA8-4039-4D7A-8FDF-C49C4E430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C7F910F-1DBB-4997-813A-16F645B42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9256B07-E838-46F4-8116-3C19E1678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131F2BA-70C3-4896-A349-E4ACCE93F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2477F52-3E90-4548-91C4-90703758D7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F18BAFF-2736-42D1-A467-472B9C78F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002E234-0DD3-434A-99D0-20305B60D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8EB4C4E-569B-485D-8607-0344F76E4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AA454D2-30C1-426B-B539-9A507A16D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B45E3EA-C26F-495B-983C-DCD055F435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583F9989-BCA7-44C9-83A8-2F94DC0E1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FBA50A6-1B27-475A-9744-E29713D70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1C7BC59-F057-4964-AAA6-AA1AEB9D6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C4398B4-BA36-4F3E-82E7-0F07D6ACE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D691BEF-0113-4434-AE9C-AF9951EB9E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E1553AAC-2326-4907-9C14-081B9EDF6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F0FEA64-0CA5-491E-9F59-4992FE3CCE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45834E9B-5DB1-4F4B-A359-F172ACC29F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9BEF678-86A8-4DFE-BAF7-1F0E821004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6DF1FE1A-0D71-4404-B369-98910544EB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23D0E19-6CC5-43E2-A28F-9B9455DD4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14B6F6A-C0A1-498A-B6DA-EE6FA4772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212FA3F7-9C09-43CA-BA67-3761CCB7E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2B338DC-1C79-40CE-882E-416D165C7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6D37765-935B-4B99-B40C-3492348F8C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570E141-498D-4F20-BDB3-39A9854E4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76E7A04-DBFD-42A6-B0EF-CD1505C75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441EE31-D9E5-4BD8-8870-C26A53C02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EEC9B74-E98C-434B-97C7-F55F9B9D5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DBC69F1-79B6-4C8F-BB63-695535A6A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91FCB0A-63C0-4626-994B-3BB92E43E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30DA676-EBEB-414E-9035-D41C1E422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6603C8DF-5C71-41DC-A1E5-CD8432A9E2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48D93BD-9C37-4480-92E0-D769B3C134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045B608-4A66-4004-ABB3-D52F1FEAC0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2650F30-1269-4AA7-99D8-2C11C391D9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1E2C4CC-F1C0-4485-B4E6-D0187275C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BB17CB2-C3EB-4B26-8EBF-59899FE80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2C083D4-5DE3-4CCC-856D-D891E815A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81F15D8-DB04-4BE0-B82B-31B9B52A0C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7EB4D5D-B728-4889-8B79-B731189D9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6178F03-E22C-4823-A3BB-24FB3C7FC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8669DF6-CE8A-4F83-984A-963017C86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98BD517-50EA-43B6-9A0F-ACAE70F29D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08AA036-22F1-4B52-89C7-9BB967B7C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4A999A7-9819-4FE0-85FD-BA3545B3E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68FE9A77-2B6F-496E-9268-225F443A8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A66A3EE-1D54-40E6-8377-F34C0C965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3528FAC-BA08-4D87-A19F-AE904F89B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D422B440-7736-45E7-B884-D1BE04FDC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4852555-E9BF-4F24-9475-FE1C956FA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5C61EB5-3868-4D7E-9066-9FEA89774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1A5EF22-C9AF-492D-9B41-BB41D31C7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D4A6A01F-55C1-4123-82F4-DCF540466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7615C1D-1BEB-4112-A300-174737F78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BF259FB2-F3FA-4E2D-AD0F-D93D48A3B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11B939C8-0201-44E7-88D5-99F0AEF32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E0C256D-B1AE-4B86-8AFC-21B9FF4D67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EF97B70-3BB4-411C-8045-CC2A3DB36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85EDEA5-9C49-4E45-A3B5-EF8A053097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2D85D32-5FC3-4BB1-BE2D-753B6CD36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E95BB15-19AF-41F7-B34E-644C58D495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7B7B0B8F-15C2-43D3-B2B4-04A7943AF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8EA591A-81C1-4C68-9916-6A26763F6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458A5A6-3B07-40E6-B7CB-F1E757EFB8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F5496100-C22B-4F17-BF8F-FB4A04589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B4CA796-57FD-449F-A869-48E4FAEA3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7C2B4A3-DD15-49C3-B62D-ECB4FA5723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0832A5A-D3C6-4A91-8B1F-37A2F2112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110C109-1CDC-4FA1-A31D-9DD4AEF5F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369185C2-9345-4EF1-AC39-754695633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3BAC206-D4B2-435A-9FFA-AF2558D308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E53CB86A-C7E5-4A7E-ABA2-0104417138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2678D772-1F1C-4BC3-8494-AF22EC88D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E4625DA-79EC-4CDC-A8BA-084B4FD66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879B1C7-610D-42C7-A946-155BFB1E6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1EA4BC65-C6AF-45A0-9B95-56DF5659B4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3793E68B-9BE0-4C5B-A64A-81127FCAD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755D7B6-0DF4-4B02-BB00-1B75AED80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FB26572-4E60-4EBD-8398-40BFB91D0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8A2B53B-50C6-4FED-A576-5950CA248C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CA6868F-054E-4B3F-92FA-C569A9C41A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18A204F-EAEC-49B7-99E2-75419D526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3294CC04-22F7-4FA3-A986-F8047239C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C2E97BB-6F79-488C-842D-E5C7DBFA27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91D5384-FB11-4125-A378-74244A582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1C71F8D-DB8E-4EE6-B2BC-3F0A306C2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923573E8-6580-4601-B74E-78F24F7BF1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1D4F97C2-443B-4627-BFD4-68D71FEC8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56ABC262-08BC-4C68-9180-680E6089E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54E13D1-7E21-4F18-9718-15A4495B44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B184D6A-FEE5-4A16-B3A8-E809B84D2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A98A0B0-3141-4578-BFB5-C6109580A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E9A64E7-37C4-46C5-B94B-31C0013F5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CCCC5C0-0AA2-4B69-83A6-323C170D68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7803B35-931D-4616-B9A6-EB4EDE2A6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EC45D83-18AE-48D5-9CC9-EA1C635B8A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7BCD5CA-DB23-41A2-BA02-AB16D6731A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9D3D3AE-2C2D-46A7-BB10-0F99A4A22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204ED20-0D61-499A-88BB-9B712F03E2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4F8725C-20AE-4F6C-9762-256881B41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B14F9F0-C43C-4E80-8F5E-20B93B167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38A7650-4EE1-409F-937F-B30C51B71B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0067163A-3CDD-42A9-9487-21A0CD000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8D9F5D5-BFD8-4E6B-89F7-7ABECD064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1B0DF96-A746-474C-A284-F63FB5DDD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AC60358-1AC9-446D-9A2A-AE1128138E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C97FCE3-B437-4127-9485-D73918617D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292ACCED-4099-40F0-855B-9440C6919A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3CD38D8-AD0C-4F1D-BC11-39F1F57D12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1565BC4A-9CA2-4F3B-8EC9-F8FB118176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0E29E15-6247-47DE-876E-82B80E31E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4B95B3F-23B0-427D-A391-4E204B4D0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14A01BD-F8CB-4325-A74B-7E311146D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5F51BCB-8AF5-45A2-8EAE-A7C4A31079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7EB1358-8425-4336-911A-B82842267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30D9E7F-9E93-4295-A1D7-64395C6B33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7D09EA6-902E-42DB-83E7-6283E8E46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EE8DAEA-3177-499B-BB51-EE94D8BD8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8D8C469-2E58-48DF-8826-DACF22BBB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603CF9A-B097-4D04-B94A-3C17D9AAA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2EB31A1-5DC1-4078-B278-D0A86F2277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B2A6604-41ED-473B-8CCA-B44F55EB9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F7C1D0A-AD68-4449-BE65-AD9B3E0D0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567DFF13-B9E5-47AF-8B5E-F078367F9F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AA0DB593-6D38-41B1-B43E-E9682845F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70A2EBF-2F11-4A8E-BAF3-F7DE8867B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4AC5378-EF3D-4F8E-8605-D4FBA272E9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B7ACEF1-0706-4EA8-98B4-FB1073F93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8291BE2-9270-4467-B343-3B8A05CD7B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716C59C-18FA-4884-966A-01A1B5687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C36EDD5E-13FB-448F-9D48-E1A06E3B0B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6E4CCB8-B9A3-4C75-8BD6-5E8BE6937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0124C82-1E44-4CAE-BFD1-B7681DEAA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69E3C60F-DBD2-4F81-BF38-9487AF950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FF75D6D-05A5-4EA8-AE5A-A586DA0A1E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0254951-BC40-4B41-BC3D-947EF7F57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C5A356F-83BA-4227-858D-0EF205D503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D9B5BA69-9969-499D-A158-630016EE6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BE789DE-B415-4BDC-804F-8F731763A9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1BE0663-E2D2-4EC8-AC29-182F29889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980C06B-1B77-4884-A938-3FA01442ED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C31CB1B-C7C9-479E-896A-CFC6BD3E29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811B9E3-3E4C-4229-ACFD-196F4CD73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30F48CF-B900-4AC7-BFB1-C77E6D156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75496EA-D88B-498C-BD46-C54929590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D97135F-FC6B-49DE-8792-DB90254AF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7676779-423E-4AD4-A51D-326EE2C8EC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0F72C1C-3847-46C4-9FD8-EC1F3BD9BF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66952A8-44F1-4113-B0F0-519E0B77B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9CD7442-D76C-4653-AABA-84901427E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016A636-8705-4280-A47E-4472CA8D6E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05C9C5F-C1FA-43DA-80B0-C807CE7816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EED4CF9-EA7E-4B11-8030-B49B36A1D7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DF3EBEC-6895-4B66-934B-344650F0C4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83EB2C1-B1A8-422C-AD64-609D75B715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93E04558-9C40-4E6F-8789-FCD411A3C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ACF67C3-ECDF-4851-9B8A-56DC9B54FF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2286B19-F230-46DA-B328-3DAC557904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5DCF7E2-0D56-4E60-9848-C4BCF19CD4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1CD8174-AEB4-4812-A87D-7FB043AF59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8F5ABC1-7154-4148-8DF0-36659B0DB7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E135E72-1C25-4708-BFAB-999908239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96E88095-8B4E-4937-87AD-56DB001CA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DB0D666-1F0D-47C8-9C1D-8E1E20B7F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5680BD5-F8FC-401E-8BD3-B2FA18ABB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CF86066-2274-4F27-915C-A820328F7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2EA57CD-6A67-4F02-B48E-1D8835D1C4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C233BC6-BFA0-4B4F-A6BF-E3A366B011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0C878F8-F52F-4E9F-A242-6FD9A72A14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A79DB59-95CF-4623-8EC6-EF0C04A05C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E754D07F-6CFC-4886-86A0-427A0B5B7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92363C1-7732-4FB2-A644-AA57E31D28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7DC802F-126E-4FEF-A4A0-B43004608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7FBB2F1-10A1-4226-AAC9-EEA603960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863058A-2BA0-4D93-A227-4CE66F361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EA8CF0B-9D54-44B9-B89B-9197EF613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7DEBFDD-C3BC-4D6F-903F-4D72AF348A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DC1DCA2-CD26-478F-9340-2507DF89A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82744CCF-28E5-462A-90AB-288783159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968553DF-AE46-4662-8E09-74A207BB6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30D13A9C-9949-4B46-BD30-C49A61A425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AD03081-4092-4653-B489-06E7584F07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B2E7D22-C843-4C71-A659-776003B9C5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465A411-00BB-41DC-9770-74AF9BB99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6226BFE-B7FF-4D90-9F07-FBE233316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BF70765-A744-4501-927E-0D594AD5EB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4B8D62F-F35A-412E-832A-09DBDF921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934F8FB-EE23-4489-8487-F9F6E4B04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B790E6E-2B55-4E2A-B9E6-EB5681D9E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09E1728-4CAE-4A8D-AE18-3D390C475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9E43FFA-4DDC-4513-88A0-264E7A2F0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78B63D7-682C-4554-AE02-C5AE5A8FF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C58A327-826E-41A6-8F6F-D5521FE39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0CCE2BF8-81DF-4024-83F5-AC3AB41213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AB3FFD5-95CE-4D1E-9622-7AC71E964C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749AFB09-C23B-4BA2-98BD-1AF32E1CB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E6FEE30D-CB7D-4386-A8B6-239EC2794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37F3143-96A6-4F2D-AB0D-9879A0B7A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42D5ABBF-2D20-4D42-964A-422393299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73711FC-3E60-4083-A2EE-B81DA5294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F6DD20F3-F177-4A22-970D-59A707383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12733E19-2677-411A-8EE0-1D493CF7B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8BCBC8A0-C610-4AD2-94D9-C7B3513C9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733C1E0-376F-412C-94B9-85A596195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E586805-88AE-422F-BBBF-74006C1C6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292BF49-A0EC-4BE0-823F-786CE97C3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C0CB2A0-5284-427D-8738-D5F05DE97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C994699-B393-4BDC-A75C-5813DC1BE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EA00570-E537-4E60-A6A6-48229D8FF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EA3AADD-8917-43E4-A366-0B535AAC4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28F229D-45C7-4249-97AC-71981D31E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EE0F661-BE4B-4BDE-A56C-74B08CA90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D529F3A-AF1A-4180-AF1F-8CCB7A92CA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E26CF81-6A9E-4031-99C5-3648EE78E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78FD626-8D20-4B5E-808F-FB1DB21BE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C1218F0-C575-48DC-A181-7B60B7DF9D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C79559F0-47FE-4E03-B8AE-FB4C8DF8C0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BBB5D27-CC67-420B-8E80-B0C612475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78A9219-B311-4C3B-8F56-983DEF732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74A564E-561A-4123-B8DC-141A8B3E77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659EF933-61A5-4703-98F0-4FEDDB443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B133093-1551-40F1-986B-F0A6EE3E09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BDD8A6D-2D79-466F-9CA5-0D0C71F25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B3B0F79-6408-4391-AC42-E5F1D172D5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971B112-14FC-4A00-A96A-C4E5AD8AD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CFD13F25-08D4-45B0-B400-201C0D7748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232278A-101C-44E4-92F6-9A966E82F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B3FF6F34-5B49-4C9F-A8E9-3520125C6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706D8C55-69A4-46F5-ADA7-E4EC7794D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BA74351-DD8E-41FD-A51E-7872278AF4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B1DAE62-7410-4B65-A21C-EC5947EC9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EF214E4-F6DD-409F-A89A-0015605C8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9BC868B-39CA-4A43-9521-684CE2F6B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2305529-F457-4DB0-BC51-DA3D99A63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0FC7A056-E0A0-4C7C-8ABF-564FC3B30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A62DBC00-D007-4EF2-B354-36EBB85EB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721846A-36F7-4BF8-9057-9DC5A23CD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056C8F7-EE5E-4C94-9E5D-2396453B5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D4507A60-FE26-4DBA-89C9-045C7F93FD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EEA1743E-7C39-4B0C-B474-4E0CA9434D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A16A089-678A-47FA-939D-7766BDA6E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982BBBB-C758-4A1A-B60B-1EBE8BBEC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DFBDDBA-D889-4383-BB62-B9BA78C47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33B363E-A0AB-40E5-99F0-61ED43FC88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80C6A30-F380-4C42-96B9-F8BA37D8B4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EAADC19-656C-4486-BD90-937DC5025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2D2C8B12-038E-4DFC-BD0F-84E5B2A90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138A896-8647-47A8-A0E0-361BE4566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60AF363-6419-4071-B2B0-0029903141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B215A4D-8C1A-4C41-904D-AD0DDF290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0889F92-1703-492C-B764-1746661C77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4A911922-FC31-42D6-8C8D-1BACEDF29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2C4D136-F2E5-4CA3-B012-9D63AB5B4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ACBFE4F-AC67-4707-BB78-440E4E8726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11584FE0-02BF-424C-9801-E1D265467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425AC603-6B92-4D1C-BB78-9E29716A1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6D8C71D-52BB-4D8F-9B21-C0BDACAF3E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B6F6D71-033F-438C-A7DA-7B76C3644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6111816-6277-43EF-9DD0-76CC394E3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F2A2EE93-8AED-467E-ABF1-E5D1F66EB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5D5584D-46BD-4663-B1AC-198F57347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C681BF6-BAD8-4D13-9620-877D83709A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D848BC1-C19F-4269-B423-11F5FFEDF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B239B51-4F1C-44CE-8945-66C7B326A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12A09C41-24C1-4B5D-B4A5-45C407AD9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CD14138-AC66-4FAF-9CD2-5CB0577E6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D865BA3-CCD5-47BC-8E91-4BEF5DDAC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75D5D9F-4B04-4635-B3B1-8AEC6EECE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779387A-E6F5-40F1-B734-1C1E74A56C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2B2379B-57D0-4F0A-8EA3-1A46622CF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D8501E5-C633-499B-A647-440C6E06D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5300747-5D0D-4204-9518-D70B8D63C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E9BF6FD-3F02-4C14-BCED-056B879640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548E3A4-8465-4B76-A374-544EC9CF8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BED537E-5E77-4C55-92AF-76F17E8E8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5884B56-AF08-4D40-974B-7CED3EDDC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61FA526-2E9D-47A7-9095-E312CD4E1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1C4FEDD-D6F6-4A78-A4A0-477BE6B21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7FB6F86-A154-4444-9337-B696BAE3E9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4CDA0D7-817C-439C-A704-BF28795E4D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E5F270D-B1BB-4BD1-ADF5-34C75091DC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AB847DA-3FDE-42B0-9F98-AF126285B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3CEDBFC-7D6E-44D3-9141-848DE5ECA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F14CCBEF-9A0B-46A6-BCBE-0653773F75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380A1F4-5C4E-4E0F-8088-756BD418C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E412947-B240-4B83-B880-22E9A6A48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E497195-5E13-4F2E-B8C3-655876C4A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D55DEC64-1E3B-49B2-8397-472E7F9270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AE92FDCA-26C3-4B0C-8546-1090AE57D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C1F3FE4-5F2D-45AD-AF6C-86084A5E9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9DEE9E8-B3BC-4780-B684-60BD5C293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4748A07A-176F-41CD-A07A-A02395EDCE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FD739C3-73ED-468B-AA06-F474DB0925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6C52148-5945-410B-8510-F153766401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2F41646-6DB2-45F0-9EB1-EEE8BBB15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C092705-6239-424B-ADB2-09D2BAEE4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B66756D-A066-4E60-BEA7-62882CEE4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E74CAB1-3F1B-430D-A826-35A554235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043F74E-8030-4A99-A605-09B631757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5B14F2FC-F21B-462D-BA6C-9028F2A00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7504F20-085D-4839-B89A-58F0B5EE73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52923D5-5679-4B19-9760-3E2281C980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93EF765-3451-4B38-9CD4-5976D41A68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1944C5DA-302A-4660-AB2B-69F6E809F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1B11F45-A71F-4BA4-9EF5-AFD690C07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9BE16F1-4B1E-4357-82F9-1A02E2F49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5E3DC6B-BA4A-4444-AC0A-EA5471169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C343F86B-03C6-453F-B488-3F00F5CD8C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0D096774-4C77-42DC-BAD2-E86DE478B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C9DDC58-F6EF-472D-A861-B30D112D38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F21D3E9-36D2-4F8B-85DC-1C74456B8C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F25965E-2F25-4FF8-83D8-5E43C2A312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BC9C651-7FAA-416C-803B-3ADAA0D982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97FBA967-953D-4D10-9B5C-69D6E4EEBD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EEA16E1-1379-4372-949A-1538FE3E0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CCF6BBC-B67C-4B72-AD5B-567A1ED43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10E7CA1-F447-430F-B684-9919F6F6DB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F6D4AC2-4605-46F6-86FA-A89F119D1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5322514-1C7F-449F-BA5F-03F841BD9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93F3B54-FF5D-4610-9557-D16397ACF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641C38F-3C97-47BE-9C85-371628D05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354A7A8-B808-4DC7-9387-AEFC7691F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4170827-05A3-4650-B889-D7A39BC29F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8AF7079-AB77-4B30-9670-57B0DF9E5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2B5A829-7342-4997-9440-100C78A1F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DB5E025-D2B8-4FA8-B3F6-F331BE1DF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1BD456B-2927-4516-B15E-8AE6C243E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5A2F4C3-A83C-4C9D-9F93-40378B8566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541E4E9-BFC5-485F-9E1D-9DC398370C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D02A81F-BFFA-4A89-A664-382A9698D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2695E79-12D9-4E36-A266-CDC39EFEB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6F54229-6B29-47B7-A4F6-50C5E4B1E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7558280-8D17-40F2-9DEB-3E1A6CDCE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6BB99E4-4452-4A14-B10D-708A93A2FC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BB5FB8F-1FAC-46AA-BFD1-5243868AB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21D4792-A445-4A9D-A49A-6F147B81E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C136487-0720-46BF-82AC-8B6CEA82E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7328E47-7AB7-4DC9-8F9A-0DB0F4D57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1AE24BF-CE62-448F-99E7-A886BE42B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9F53866-72EE-4C06-9E8D-567551FBB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F58D77FA-5E44-43B4-A08C-7650F3C427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B941035-1523-47D8-A0A7-5247B8A842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22736F6-16CE-4064-A02F-28C0B55232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37527D2-C736-46FD-81E6-DAE905402B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D4123E0-06B3-426C-8E28-0A15B6B1FA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E350091-771A-4A13-AC6C-F309631DCF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EB9C571C-AA33-495C-89DA-C6BF1406E1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EF32A1F-E4F7-49F1-9D34-D805B320F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1B0C4F8-13BD-492F-AAAB-B97A71794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BFE0CD9-767D-4C4B-A9B3-B85C65A9A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2C926257-7691-4136-8396-5D0FB20942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323C433B-1AF8-45FF-9134-AA85724BA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76B7142-F26E-4DAA-8097-C186D99CF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0610B5E-BA80-4AC0-B7CE-8409C5340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03EA048-365D-416B-B33D-111A247DD2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2D78669-5D99-4422-92AE-A28111B89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8C964FF-0B24-4C7E-91A8-D9F9ADABA3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17C1FBA-5ED5-4A5E-9CD8-34C7534881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451AE57-1F63-47C2-BF33-B00BF3C06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6C32CE5-E171-4103-94BF-60CB91D3B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131796B-7729-4992-9B01-6BCB1CA011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DBC4BD03-F50F-4065-A7BC-5C13B3075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2EDD5C9-7F6C-47B3-BDAC-B154FB7D05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6CCC7FF-0867-4395-9A13-743835F36D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94FF4EE-690E-4A41-BD73-07B0CC37D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341286C3-7854-4636-BE88-FBDD98517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92D374D4-FB50-4CB0-B3E0-288FA3B3D3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09045A1-87F7-45CC-A5EB-6EC764D2A0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2479F45-EC18-4B15-94A9-CB94C4092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42CD954-730F-4485-BFD6-6D21007E4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F0FF36D5-B4FE-49DD-91CE-5190EAC4A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829E7A66-7361-4FF9-8E7A-5B390EA57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B1B617C-1C37-4F00-A8C5-F646CA3EB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D1CD5BB-C216-496B-9641-5E60913E6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83254C2-97F1-460C-80DF-E1CEE43FE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5BD8680-0EBA-4A32-B991-7EF98449F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CB74328-DD13-4A61-8714-73B318873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1422FE9-BADD-44BF-A14F-DF6CC78C9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B6EBB11-DFA4-4E78-A70F-CCFE77697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4ED8F1A-7E36-41F0-BE1A-6D09FCC33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A4CDCF2-2C8A-4101-9A81-4370A037A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0AF70A1-76B9-451F-A5E1-C9DCD4BE11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2B6ED83-982F-45C8-B60F-37511CE86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F1CCB97-0C7D-4F94-B9AA-253FC0F54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47A9364-DDA6-4B35-9B79-C3319572F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248F77B-F649-499E-A973-A8AFFBDAD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267B696-AC3C-48BA-B00F-3AA0C37EF1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B03924B-9C36-425F-BBEE-E394253D7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969E120-5FE9-4843-9274-774BDC9337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7299C40-EBE9-4CCF-825F-F78C2D174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9F7CE22A-810F-470C-B453-C268EF0ED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0F13401-6EBE-4966-8DF6-C931FB261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517D584-D5EA-487E-9CDE-B9678E80A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F8591BA-489D-467D-9C44-3D0562B429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D56280FE-D215-42C1-AD0D-5C02F3EB5E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1551CCE-2E61-4274-B196-4C8CF922F4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C7FC65A-2ECD-4606-AF98-A84CC404F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8D1BCB3B-78B4-4C2B-A735-153F7A15B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61C7776-B602-4265-B7DD-AC772B2F66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1B8530E-9B6D-42D6-BAB1-31DF09A4B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292D178-A22F-46A5-8D44-69967D0CB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91C059D-1694-4985-BA57-FB2AC97F8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06CD7804-E5D9-47BC-ACD6-0B6996673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B973B10-3A3B-42F5-804F-8F3F67055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8713D45C-9DB6-4238-B8CF-AB075933C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9F309C4-F76F-428F-8112-9BD728DEE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9BBB118A-A8FD-40F8-B8B4-27149C48B3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CB68C30-435B-4949-9159-44BE0CD50A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23AFBA4-2CAF-4D5C-ABC6-C7A65BE2B4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238CC55-C9E8-42C6-A25D-8F1CF294C4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9C7ADC6-810B-4AFB-9EE7-CA9D0E0D1C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E6601E1C-6CE5-4381-9EEE-55FD3335E1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427D9AD1-9862-4DD2-BDDF-1BD195007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064E3603-A341-4234-85F0-A2120CF93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2A32F80-F8D2-473D-8F97-01076D4B0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7C9D424-7AF2-441F-AC9B-021670BA01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46D65E2-8D9A-4CE3-9EAA-C482D9F4A8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6209296-8F2B-4715-B615-E8EF4A96B7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9C479722-40BB-4158-94BF-E21D066C8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F70AE00-45F1-4414-9B4C-04DE95886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5AC8CC6-C684-4636-A07D-795E4981E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77FC9FD7-F6F7-4EA4-BBE5-0A73947D5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E9F9C47-F088-46E1-8966-56B049514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F5A2D99-37EC-4862-9F5C-55521F509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880FDA5-7A25-49F8-9B7C-5F10C5649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60CC6B7C-F103-48F0-9596-18AE91627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875A8C2-BCD1-40FE-AFEA-831AB9CF6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AFDA0F6-E9BF-457B-A642-7427E8D021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47A0D6E-9D7D-425B-BDFA-50AD92B81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6B90467-B630-4175-A95E-1505FDCAD1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D8B55492-20FB-4ABB-A529-08BE6EB8B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54BC8784-3C94-4DF1-A681-B23D931E8B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EDD2944E-5FC6-462E-B87B-D67CDA104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A6CBE53-04C9-4AC2-BE66-C9866A8EF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6A96543-C8C8-4D2E-9B2F-48B3E320F6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EF2129E9-832A-461E-9FE6-154266ECA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FCCA143-A37A-4BEF-9A87-6B532D9C3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F6D93516-B1CD-4B63-BCB1-7265CBDD2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FAF3780-0BC8-4AA3-B7F4-576306111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0431121-C98D-4EAF-9894-CFF8F396A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BB7AD8C-FEB2-46E8-A97C-B5CAEC537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53C56F8-CFE6-4118-B48D-32093240FB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8BA75B7-6565-4404-B8FF-E33F06B06C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7844D9E-3B74-418B-ADF5-982235412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F3F0778-0AC5-44CE-885E-67654A774B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19C5C63-B4AD-4949-B968-3A3F137327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A01B711-0940-4002-8A26-5F07CDFB1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F6F9574-6AD0-49BA-9487-6572CBE7E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84F86F1-155C-40F0-846C-A5BE2F9543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DC706D7-C3BB-4CB4-B122-FAB037EE3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CE9C4F6-850C-4DC1-9A72-CED7EA285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9001F4E-CAA6-462F-AC5B-424C882C0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475C780-25DA-49C7-B86B-74793F8B2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001BD75-E410-4B5F-9DF1-5795585EFB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BF2292B-AF03-48DC-AD9B-19E810A2CA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23A6E16-D3EE-40EA-A24C-AABE669C0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9360E72-6F65-44D2-BC7A-CEE8216F48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D0FC39E-F811-4C7E-AE1E-E91D874AA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7C90ED8-B6DE-4EC3-8E22-CEF3F1154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BA6D34C-5A2E-482B-BE2D-392694EA12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0A8AAED-8A8C-47FF-8E88-FC4778466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67890B2-CBA2-4464-B711-4571E9076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F7CAF4E-82F3-47A4-AC55-B6DFE17025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AAA052C-AA51-43AB-AA66-25021CEB89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BEB0ACB-5665-44A1-B282-B3C80E0B2C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A0819C7-6290-4C39-84D2-7134F5DA5A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9750B1C-8983-47D5-985F-829CE9E50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C1737D2-8DF2-413A-A887-8859D871CB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15F6A57-BA3D-4C62-9D72-5740E4BFE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9DDD0B1-CC26-43D1-874E-D8431D67D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CC9C611-E34A-4087-BD05-656B32D53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D1D2EB0-9096-48E3-8F1F-7C893ED2BE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535AAC9-B7A8-4F0B-9498-66D7E0983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4CAFDA9-AC99-493E-8730-C9358DBC5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7FBC3C1-015F-45AD-BC09-BAF4924CD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DD46C12-62CA-44AB-A1F0-E4D8D49052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26DBA45-6651-4348-890D-F3CD76260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410A6B5-9D8E-4F36-A941-72F7C50A3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8C37859-F757-49A2-A28C-DC68C335B2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D8CAF90-4C6B-4698-A9D5-D40341C45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DFB3FD4-14D9-4B19-86B6-1D9B6155A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B27DE42-DB94-4816-AEF2-BEA43B804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8BAD15E-0C95-445F-9045-0B94400E23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D7A6275-D6DB-4FF3-875D-3CF7743685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49CCA5E-1A81-4F97-BABD-5FFB55FA1E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ABDE5D5-EB52-4365-9504-466ADC226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49C9F2F-8A15-457D-886B-BF4E5A4C3E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A25BD82-094E-4838-AB2B-4635CB6C9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78B72AC-C7D5-4313-BEF2-90D55A790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95CFD04-7AF7-4CFB-8EA1-3CDA67CB3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C7C0A96-3921-47F9-BE94-AB771C60ED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B3F5448-F2E3-4243-B21C-A947B6D734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8CCFF84-F344-4808-B5C4-6AE18B75DC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356D12F-4593-41A2-90FC-34C3CF669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B4F26FF-ED37-4424-ADE6-0DAB8C9BEC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5B4D751-92E8-4F7C-9C1C-DF8D63D83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6D57A0F-6FB3-4E40-83AA-E3AE4205EA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11BE3D9-F5E9-48C7-83A2-06F5C7CF4C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3E50812-A1A9-491A-B478-3B7CADC98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E8AE353-312C-4108-8C67-5031A9F92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48CFBF3-1A06-418C-B66F-7C3C9D2B7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4948351-09B5-4180-8C84-61BFF7A64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30AA98A-5242-4196-8C01-E02B9AB31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DB4E2C3-A25F-4814-90E0-5D97414E4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3E90E53-900F-4A8F-9B6A-3C377A23D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765B99F-32D0-4A8E-B51D-FB0AAA907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9B55559-704E-4184-91FC-C86C7B3933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1001E1E-4627-4FBA-9961-1D964A4C48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395A282-774C-4322-BA34-9041A52D0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B05CD7F-4B73-46E1-8B5F-C722701C37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92706AE-1B5B-449E-BC1F-2052D8F5D9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6DD171E-0BBC-407E-98EA-3BF21A03C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336FAD1-6DA5-4EAA-98DD-5F3B8D29CA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9CFD296-3E5E-4B82-B943-4563D614A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FEC877E-B203-4242-8517-53555114A8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2E8AC0A-9129-4C64-A0C0-2AFE75B73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8B92B16-9609-4269-8E91-98EA103C0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88D910C-7D06-45B8-9FC8-BFF6CD3A22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967E959-1A0A-4BC2-9A17-382CCDC6D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77CDF23-B81F-4340-8FF8-BC92EA0CA4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E68C5C0-B8CC-4406-89FD-9F86D879A4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464A634-CC73-485E-AF1C-90B1D7801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DBAADDC-723B-4D43-98CB-71707A60C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CDE0A09-AE55-498D-8AF2-5C00CC83FB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5439A3E-5784-4B86-B10C-8EF0A55F7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8C6B29E-1676-460E-9009-D9E17C9B6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897102A-40CC-4ABB-B88A-CD130B27E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B91BA2E-FF48-49CB-A6CD-FC60694A2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50083F8-F17D-40E7-BB9B-9B236FAD0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22E9A89-02AD-414B-B91C-EC93A20135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C2E9305-B9E3-4F23-B927-BA6453487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3AFAA83-70C9-422F-901E-761ED1001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6A48776-6F0D-447E-A132-2AC69347CE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66B87D5-9337-4ADA-A79B-561B969BC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838F458-49A5-4BA5-8C77-53EE3C37E5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091C6BE-A82B-4FC7-9A10-86292CCAB4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AF04E12-E646-4033-9878-CB6DBE581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EC14C2A-6BA7-4464-8DAC-0A93AA214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AF0F879-92F9-4962-8A9C-2FDBD1DC48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56CF081-1B36-40F2-AD1F-2ECCAA1A1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88C62A4-F5FE-4733-9D30-7C1556738C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3FE1C44-83E9-4334-8887-635674F4A1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A442E26-B141-44CF-832B-048BF31B20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0384853-D877-4A0E-A36F-1A8902D94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F3A19C0-FD7E-4A4C-BE9B-3DD3824B7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D5FC289-C44A-4F11-9695-6FEB81ACB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2DAC824-A8DA-4EF3-B59B-6BBA1F1FC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64DF811-21D8-4FCF-9D7C-96A0A0C36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31F4E59-B9CD-466A-9537-5E470DEEB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EC8D145-08F7-4D2E-9CDB-C9B702EA1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84D51B7-14E4-4398-B9D4-E7FA784F5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CD03B9D-58A4-4BFC-B93B-884599A7E8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51D1D63-5682-4EA2-9D9F-93D6258B2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98DBF02-5DC8-4FF2-9AC3-F0A72D451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E88A457-280D-48A3-B5C7-5972007CF1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82ABB4B-BA7D-44C8-94FB-3C3F5F8D2E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9B29A73-237D-4363-BB45-9E58C3C7F9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EBBD82E-0872-4A5A-A6D0-587F7DBEB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4AD5DB6-14CD-4900-B81B-6CD70E5AB7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94EDFF7-966E-4EA8-A1C3-31C86B2C80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2B3AFEE-7EFB-4DBE-ADD9-B2F33CBFB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9AD9E4B-E214-4AD2-B05E-315013729A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03651E8-D58C-4301-A44F-2B10C2EF6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AA8E2D2-0FAF-489F-9FEE-2A66D5B830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F2F0D99-52F5-4215-B7C1-D3C0FFB28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62560C4-F58C-481B-BB1D-C6103318DF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8C99A64-CA6B-48F4-8A66-A4A1A493D1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D7E448C-18C5-4059-887B-B665EB279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AD9D025-F73A-45E0-AA70-ED8081825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8BC77A4-00F4-4FF9-BE6C-469430E6C8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D5854ED-DBAA-4391-9F4B-F6798C923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2B1A459-6035-4D42-BA0C-441D5025A4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5870D8E-1327-4341-8913-BEE0EACB7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67C5BAA-FD32-4F1A-B7F9-1DA362B81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B0B0F21-C79E-4CA7-B726-793CAF2DF4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E8B30C3-CB2B-4AB3-9E45-C845BFE4C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B56E89F-E9B7-4D6C-80CF-768C6B961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F412D5F-235D-4028-8A13-4AB6AE6435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603CD0D-0532-43F2-84C0-B19A7C22C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6DD01D1-3DB2-4406-B81D-2D9340DAA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C8FFD40-C40C-4700-BE2E-7AB3B45508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57C2C58-CF6C-405B-ABEA-B32735718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9240561-B659-4A04-8E9D-EE08C7FB7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812B559-332F-4D76-A5C8-8C5566A3A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7DA47B3-900D-48B2-BDE3-D7B4D69F8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3438D5F-67EA-46EF-82FE-73FB6B3B20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EA32ED1-8200-4B78-8C50-1DBF6A43C9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256B39A-6548-4918-BF03-01AA26347E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AD42674-5794-411C-8441-0F17DABFE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A966C45-81AF-4896-AF58-27237F7DB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A5EBB20-6CDC-40F4-99D2-0DEDBBC3A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96D5A72-89BB-4874-A55A-03F3349A6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98ABDC6-C63E-45D4-A0D5-578887652D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281FF4B-0122-45AB-9B00-03AEDC4E07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715353C-0B41-415B-B84D-FFE5D6789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10E29F4-5D62-4E55-9F9B-35F85FD51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28D8116-6343-48D8-8484-29DB2283C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70C548F-0CAB-4292-AA35-0DCC71B16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94D5C97-0570-41E4-B2E7-BB3C74BAD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8241E67-2484-4F66-98D3-31FFC8EE2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465BDF1-65F6-45EF-B7CF-9A5011416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4B518FF-297C-4298-88BC-72BF63427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428E718-293C-4395-93E2-CE422713B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10DDF09-2208-4179-AEAC-99DB15390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5CEAE63-DA67-4948-942D-96CF9DE051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EC24A66-E774-4D79-97ED-FE2BEC1F8C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F046BC4-9E2E-4651-903D-D546554AD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F7725B0-0466-4549-8960-B3EF48C82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EA369DA-99E6-4D79-A5A3-9A31ABC5C9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259E904-DA8C-419B-8F09-CD3CCED54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8DFA9CC-122F-420C-9811-A6FD4315F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DB05327-0ACA-4031-B3A5-08AF58AF3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89E387F-8B23-410E-8598-4B8F42F57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5A49CB7-36F8-4075-8EF6-98D159295F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AE8923F-75BE-401D-9181-638883486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B228252-83D5-4421-A069-3B2FB6517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A247680-3362-46A3-A5E4-8C870D59F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2CFA92F-9D4C-4D6E-864B-0E535139EF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8D9ADD8-7EE3-4624-A4DE-7648AB4A6C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AAF4C9A-BE2E-40E7-B8BD-3B781136B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F19938C-7C92-4DD6-ABA5-90B578B51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EECB93D-5570-4FDE-BD4E-DDC043DB9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DF11EA1-A06A-4285-B4D3-B2B4E1AFE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74FA70F-8291-4638-881C-B49FF1D96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ACAEF46-3D01-4177-9A64-7CF4C710D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003F6B4-6F24-46DF-ACC7-FF85285D73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A21DDFA-C605-4EFE-AF6A-DDAD2C9C4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CF4A501-4C42-48C0-8D42-30B9822330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3855D70-D08F-4B8F-A67B-DF23ECC3D7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1AAF9C0-1832-4199-A752-FA9E74832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C241F91-B223-4744-90AB-A395EC4BA3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510D986-C103-4A03-ABB3-0704E76FB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1B750B6-B5A1-4348-BA70-42758006A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D8371C9-D5D4-4118-82F4-62C64ACE3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35FD4CA-60C3-48B0-8CB6-A05D9A49E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E3DA2CF-1C08-4111-80F2-FC84C70F7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5B23F35-45B7-4B34-BF5E-6B0077867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2A696DC-B819-4DA6-832D-BCA47F2FEF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28116AF-FB96-40E4-BF3A-418EA4CEF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1FB27E1-100B-4B0C-AF71-B225BD0C29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3318F64-A2C6-42CF-ABFA-A79ABFEA7E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11ED866-4052-423C-8BEC-A2E7C1BFE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B5BF214-84D0-4473-AA1F-5D0D1CBBB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A66ED46-BB22-4875-9033-667969D53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7B6B0EB-6CC6-4479-AB78-7F4532F588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F28A46C-FBFA-4CA3-A1E1-F1EFB23F3B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99B14CC-92DE-4A1E-AE35-39F5C1B5B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DEBCDE5-CF32-46A6-80A3-C29BC54DF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034AE35-5863-4096-BAC7-2BE21A72A7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F5DE75A-F15D-48E3-8481-FA17F5E7A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E1267E8-D0D7-4F86-827B-3DF58E0F67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C1201A8-3442-4485-B219-B2BED8B84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C6A0E64-AE48-45B1-A7AF-7B12C813C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9893BF8-7939-425C-B19D-487BF5896A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58DDA06-62F5-48E6-87A9-44C7251EF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5863E54-22E0-41AD-95A6-523D17B6E7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3FB9788-4588-485A-B322-EDA71B099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BDF6820-1578-4CD6-83FC-AC7203B5EB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E3B944F-259A-4ACD-BEEF-B1B499B9D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C0E0504-D376-41D9-B2C4-861050CD9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CC2561B-F003-4D0F-B74D-BF53F8E9C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3A9ED69-E6E6-4CA0-B39F-4F9C6EA49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220947F-DD75-45AE-87CD-EA01818327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25/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xml"/></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xml"/></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93.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xml"/></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94.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95.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96.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97.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98.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99.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00.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01.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02.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03.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xml"/></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04.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05.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06.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07.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08.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09.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10.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11.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12.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xml"/></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14.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15.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16.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17.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18.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19.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20.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21.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22.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23.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xml"/></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24.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25.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26.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27.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28.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29.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30.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31.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32.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3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xml"/></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34.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35.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36.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37.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38.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39.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40.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194.xml"/><Relationship Id="rId6" Type="http://schemas.openxmlformats.org/officeDocument/2006/relationships/chart" Target="../charts/chart1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8.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195.xml"/><Relationship Id="rId6" Type="http://schemas.openxmlformats.org/officeDocument/2006/relationships/chart" Target="../charts/chart1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9.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196.xml"/><Relationship Id="rId6" Type="http://schemas.openxmlformats.org/officeDocument/2006/relationships/chart" Target="../charts/chart1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xml"/></Relationships>
</file>

<file path=ppt/slides/_rels/slide170.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197.xml"/><Relationship Id="rId6" Type="http://schemas.openxmlformats.org/officeDocument/2006/relationships/chart" Target="../charts/chart1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1.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198.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2.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199.xml"/><Relationship Id="rId6" Type="http://schemas.openxmlformats.org/officeDocument/2006/relationships/chart" Target="../charts/chart1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3.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200.xml"/><Relationship Id="rId6" Type="http://schemas.openxmlformats.org/officeDocument/2006/relationships/chart" Target="../charts/chart1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4.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201.xml"/><Relationship Id="rId6" Type="http://schemas.openxmlformats.org/officeDocument/2006/relationships/chart" Target="../charts/chart1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5.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202.xml"/><Relationship Id="rId6" Type="http://schemas.openxmlformats.org/officeDocument/2006/relationships/chart" Target="../charts/chart1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6.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203.xml"/><Relationship Id="rId6" Type="http://schemas.openxmlformats.org/officeDocument/2006/relationships/chart" Target="../charts/chart1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204.xml"/><Relationship Id="rId6" Type="http://schemas.openxmlformats.org/officeDocument/2006/relationships/chart" Target="../charts/chart1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8.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205.xml"/><Relationship Id="rId6" Type="http://schemas.openxmlformats.org/officeDocument/2006/relationships/chart" Target="../charts/chart1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9.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206.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xml"/></Relationships>
</file>

<file path=ppt/slides/_rels/slide180.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207.xml"/><Relationship Id="rId6" Type="http://schemas.openxmlformats.org/officeDocument/2006/relationships/chart" Target="../charts/chart1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208.xml"/><Relationship Id="rId6" Type="http://schemas.openxmlformats.org/officeDocument/2006/relationships/chart" Target="../charts/chart1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82.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7.xml"/><Relationship Id="rId1" Type="http://schemas.openxmlformats.org/officeDocument/2006/relationships/tags" Target="../tags/tag209.xml"/><Relationship Id="rId6" Type="http://schemas.openxmlformats.org/officeDocument/2006/relationships/chart" Target="../charts/chart1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83.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7.xml"/><Relationship Id="rId1" Type="http://schemas.openxmlformats.org/officeDocument/2006/relationships/tags" Target="../tags/tag210.xml"/><Relationship Id="rId6" Type="http://schemas.openxmlformats.org/officeDocument/2006/relationships/chart" Target="../charts/chart1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84.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211.xml"/><Relationship Id="rId6" Type="http://schemas.openxmlformats.org/officeDocument/2006/relationships/chart" Target="../charts/chart1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85.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7.xml"/><Relationship Id="rId1" Type="http://schemas.openxmlformats.org/officeDocument/2006/relationships/tags" Target="../tags/tag212.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86.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7.xml"/><Relationship Id="rId1" Type="http://schemas.openxmlformats.org/officeDocument/2006/relationships/tags" Target="../tags/tag213.xml"/><Relationship Id="rId6" Type="http://schemas.openxmlformats.org/officeDocument/2006/relationships/chart" Target="../charts/chart1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87.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7.xml"/><Relationship Id="rId1" Type="http://schemas.openxmlformats.org/officeDocument/2006/relationships/tags" Target="../tags/tag214.xml"/><Relationship Id="rId6" Type="http://schemas.openxmlformats.org/officeDocument/2006/relationships/chart" Target="../charts/chart1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7.xml"/><Relationship Id="rId1" Type="http://schemas.openxmlformats.org/officeDocument/2006/relationships/tags" Target="../tags/tag215.xml"/><Relationship Id="rId6" Type="http://schemas.openxmlformats.org/officeDocument/2006/relationships/chart" Target="../charts/chart1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89.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7.xml"/><Relationship Id="rId1" Type="http://schemas.openxmlformats.org/officeDocument/2006/relationships/tags" Target="../tags/tag216.xml"/><Relationship Id="rId6" Type="http://schemas.openxmlformats.org/officeDocument/2006/relationships/chart" Target="../charts/chart1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xml"/></Relationships>
</file>

<file path=ppt/slides/_rels/slide190.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chart" Target="../charts/chart1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91.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7.xml"/><Relationship Id="rId1" Type="http://schemas.openxmlformats.org/officeDocument/2006/relationships/tags" Target="../tags/tag218.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92.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7.xml"/><Relationship Id="rId1" Type="http://schemas.openxmlformats.org/officeDocument/2006/relationships/tags" Target="../tags/tag219.xml"/><Relationship Id="rId6" Type="http://schemas.openxmlformats.org/officeDocument/2006/relationships/chart" Target="../charts/chart1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93.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7.xml"/><Relationship Id="rId1" Type="http://schemas.openxmlformats.org/officeDocument/2006/relationships/tags" Target="../tags/tag220.xml"/><Relationship Id="rId6" Type="http://schemas.openxmlformats.org/officeDocument/2006/relationships/chart" Target="../charts/chart1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94.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7.xml"/><Relationship Id="rId1" Type="http://schemas.openxmlformats.org/officeDocument/2006/relationships/tags" Target="../tags/tag221.xml"/><Relationship Id="rId6" Type="http://schemas.openxmlformats.org/officeDocument/2006/relationships/chart" Target="../charts/chart1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95.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7.xml"/><Relationship Id="rId1" Type="http://schemas.openxmlformats.org/officeDocument/2006/relationships/tags" Target="../tags/tag222.xml"/><Relationship Id="rId6" Type="http://schemas.openxmlformats.org/officeDocument/2006/relationships/chart" Target="../charts/chart1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96.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7.xml"/><Relationship Id="rId1" Type="http://schemas.openxmlformats.org/officeDocument/2006/relationships/tags" Target="../tags/tag223.xml"/><Relationship Id="rId6" Type="http://schemas.openxmlformats.org/officeDocument/2006/relationships/chart" Target="../charts/chart1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97.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7.xml"/><Relationship Id="rId1" Type="http://schemas.openxmlformats.org/officeDocument/2006/relationships/tags" Target="../tags/tag224.xml"/><Relationship Id="rId6" Type="http://schemas.openxmlformats.org/officeDocument/2006/relationships/chart" Target="../charts/chart1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98.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7.xml"/><Relationship Id="rId1" Type="http://schemas.openxmlformats.org/officeDocument/2006/relationships/tags" Target="../tags/tag225.xml"/><Relationship Id="rId6" Type="http://schemas.openxmlformats.org/officeDocument/2006/relationships/chart" Target="../charts/chart1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99.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7.xml"/><Relationship Id="rId1" Type="http://schemas.openxmlformats.org/officeDocument/2006/relationships/tags" Target="../tags/tag226.xml"/><Relationship Id="rId6" Type="http://schemas.openxmlformats.org/officeDocument/2006/relationships/chart" Target="../charts/chart1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xml"/></Relationships>
</file>

<file path=ppt/slides/_rels/slide200.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7.xml"/><Relationship Id="rId1" Type="http://schemas.openxmlformats.org/officeDocument/2006/relationships/tags" Target="../tags/tag227.xml"/><Relationship Id="rId6" Type="http://schemas.openxmlformats.org/officeDocument/2006/relationships/chart" Target="../charts/chart1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01.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7.xml"/><Relationship Id="rId1" Type="http://schemas.openxmlformats.org/officeDocument/2006/relationships/tags" Target="../tags/tag228.xml"/><Relationship Id="rId6" Type="http://schemas.openxmlformats.org/officeDocument/2006/relationships/chart" Target="../charts/chart1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02.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7.xml"/><Relationship Id="rId1" Type="http://schemas.openxmlformats.org/officeDocument/2006/relationships/tags" Target="../tags/tag229.xml"/><Relationship Id="rId6" Type="http://schemas.openxmlformats.org/officeDocument/2006/relationships/chart" Target="../charts/chart1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03.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7.xml"/><Relationship Id="rId1" Type="http://schemas.openxmlformats.org/officeDocument/2006/relationships/tags" Target="../tags/tag230.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04.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7.xml"/><Relationship Id="rId1" Type="http://schemas.openxmlformats.org/officeDocument/2006/relationships/tags" Target="../tags/tag231.xml"/><Relationship Id="rId6" Type="http://schemas.openxmlformats.org/officeDocument/2006/relationships/chart" Target="../charts/chart1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05.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7.xml"/><Relationship Id="rId1" Type="http://schemas.openxmlformats.org/officeDocument/2006/relationships/tags" Target="../tags/tag232.xml"/><Relationship Id="rId6" Type="http://schemas.openxmlformats.org/officeDocument/2006/relationships/chart" Target="../charts/chart1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06.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7.xml"/><Relationship Id="rId1" Type="http://schemas.openxmlformats.org/officeDocument/2006/relationships/tags" Target="../tags/tag233.xml"/><Relationship Id="rId6" Type="http://schemas.openxmlformats.org/officeDocument/2006/relationships/chart" Target="../charts/chart1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xml"/></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7.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9.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6.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7.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8.xml"/></Relationships>
</file>

<file path=ppt/slides/_rels/slide39.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notesSlide" Target="../notesSlides/notesSlide39.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xml"/></Relationships>
</file>

<file path=ppt/slides/_rels/slide40.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notesSlide" Target="../notesSlides/notesSlide40.xml"/><Relationship Id="rId7" Type="http://schemas.openxmlformats.org/officeDocument/2006/relationships/chart" Target="../charts/chart43.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notesSlide" Target="../notesSlides/notesSlide41.xml"/><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8" Type="http://schemas.openxmlformats.org/officeDocument/2006/relationships/chart" Target="../charts/chart50.xml"/><Relationship Id="rId3" Type="http://schemas.openxmlformats.org/officeDocument/2006/relationships/notesSlide" Target="../notesSlides/notesSlide42.xml"/><Relationship Id="rId7" Type="http://schemas.openxmlformats.org/officeDocument/2006/relationships/chart" Target="../charts/chart49.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43.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chart" Target="../charts/chart56.xml"/><Relationship Id="rId3" Type="http://schemas.openxmlformats.org/officeDocument/2006/relationships/notesSlide" Target="../notesSlides/notesSlide44.xml"/><Relationship Id="rId7" Type="http://schemas.openxmlformats.org/officeDocument/2006/relationships/chart" Target="../charts/chart55.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notesSlide" Target="../notesSlides/notesSlide45.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8" Type="http://schemas.openxmlformats.org/officeDocument/2006/relationships/chart" Target="../charts/chart62.xml"/><Relationship Id="rId3" Type="http://schemas.openxmlformats.org/officeDocument/2006/relationships/notesSlide" Target="../notesSlides/notesSlide46.xml"/><Relationship Id="rId7" Type="http://schemas.openxmlformats.org/officeDocument/2006/relationships/chart" Target="../charts/chart61.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notesSlide" Target="../notesSlides/notesSlide47.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notesSlide" Target="../notesSlides/notesSlide48.xml"/><Relationship Id="rId7" Type="http://schemas.openxmlformats.org/officeDocument/2006/relationships/chart" Target="../charts/chart67.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xml.rels><?xml version="1.0" encoding="UTF-8" standalone="yes"?>
<Relationships xmlns="http://schemas.openxmlformats.org/package/2006/relationships"><Relationship Id="rId8" Type="http://schemas.openxmlformats.org/officeDocument/2006/relationships/chart" Target="../charts/chart71.xml"/><Relationship Id="rId3" Type="http://schemas.openxmlformats.org/officeDocument/2006/relationships/notesSlide" Target="../notesSlides/notesSlide49.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xml"/></Relationships>
</file>

<file path=ppt/slides/_rels/slide50.xml.rels><?xml version="1.0" encoding="UTF-8" standalone="yes"?>
<Relationships xmlns="http://schemas.openxmlformats.org/package/2006/relationships"><Relationship Id="rId8" Type="http://schemas.openxmlformats.org/officeDocument/2006/relationships/chart" Target="../charts/chart74.xml"/><Relationship Id="rId3" Type="http://schemas.openxmlformats.org/officeDocument/2006/relationships/notesSlide" Target="../notesSlides/notesSlide50.xml"/><Relationship Id="rId7" Type="http://schemas.openxmlformats.org/officeDocument/2006/relationships/chart" Target="../charts/chart73.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notesSlide" Target="../notesSlides/notesSlide51.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8" Type="http://schemas.openxmlformats.org/officeDocument/2006/relationships/chart" Target="../charts/chart80.xml"/><Relationship Id="rId3" Type="http://schemas.openxmlformats.org/officeDocument/2006/relationships/notesSlide" Target="../notesSlides/notesSlide52.xml"/><Relationship Id="rId7" Type="http://schemas.openxmlformats.org/officeDocument/2006/relationships/chart" Target="../charts/chart79.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xml.rels><?xml version="1.0" encoding="UTF-8" standalone="yes"?>
<Relationships xmlns="http://schemas.openxmlformats.org/package/2006/relationships"><Relationship Id="rId8" Type="http://schemas.openxmlformats.org/officeDocument/2006/relationships/chart" Target="../charts/chart83.xml"/><Relationship Id="rId3" Type="http://schemas.openxmlformats.org/officeDocument/2006/relationships/notesSlide" Target="../notesSlides/notesSlide53.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8" Type="http://schemas.openxmlformats.org/officeDocument/2006/relationships/chart" Target="../charts/chart86.xml"/><Relationship Id="rId3" Type="http://schemas.openxmlformats.org/officeDocument/2006/relationships/notesSlide" Target="../notesSlides/notesSlide54.xml"/><Relationship Id="rId7" Type="http://schemas.openxmlformats.org/officeDocument/2006/relationships/chart" Target="../charts/chart85.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xml.rels><?xml version="1.0" encoding="UTF-8" standalone="yes"?>
<Relationships xmlns="http://schemas.openxmlformats.org/package/2006/relationships"><Relationship Id="rId8" Type="http://schemas.openxmlformats.org/officeDocument/2006/relationships/chart" Target="../charts/chart89.xml"/><Relationship Id="rId3" Type="http://schemas.openxmlformats.org/officeDocument/2006/relationships/notesSlide" Target="../notesSlides/notesSlide55.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8" Type="http://schemas.openxmlformats.org/officeDocument/2006/relationships/chart" Target="../charts/chart92.xml"/><Relationship Id="rId3" Type="http://schemas.openxmlformats.org/officeDocument/2006/relationships/notesSlide" Target="../notesSlides/notesSlide56.xml"/><Relationship Id="rId7" Type="http://schemas.openxmlformats.org/officeDocument/2006/relationships/chart" Target="../charts/chart91.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579401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2375842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a:t>Mix Matrix | Weight of Business (</a:t>
            </a:r>
            <a:r>
              <a:rPr lang="en-GB" err="1"/>
              <a:t>WoB</a:t>
            </a:r>
            <a:r>
              <a:rPr lang="en-GB"/>
              <a:t>) vs. Net Sales per kg (NS/kg) and Gross Margin (GM%) | Client | P12M</a:t>
            </a:r>
            <a:endParaRPr lang="en-CH"/>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1467991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a:t>Mix Matrix | Weight of Business (</a:t>
            </a:r>
            <a:r>
              <a:rPr lang="en-GB" err="1"/>
              <a:t>WoB</a:t>
            </a:r>
            <a:r>
              <a:rPr lang="en-GB"/>
              <a:t>) vs. Net Sales per kg (NS/kg) and Gross Margin (GM%) | Client | P12M</a:t>
            </a:r>
            <a:endParaRPr lang="en-CH"/>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7718634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a:t>Mix Matrix | Weight of Business (</a:t>
            </a:r>
            <a:r>
              <a:rPr lang="en-GB" err="1"/>
              <a:t>WoB</a:t>
            </a:r>
            <a:r>
              <a:rPr lang="en-GB"/>
              <a:t>) vs. Net Sales per kg (NS/kg) and Gross Margin (GM%) | Client | P12M</a:t>
            </a:r>
            <a:endParaRPr lang="en-CH"/>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3091651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03615525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8044872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1450936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6886319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01091332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61950837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927570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17791408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11736628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3720835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132330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6924285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7221830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98369013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95500693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01027392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71542908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dirty="0">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497804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98997504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dirty="0">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5411675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dirty="0">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5039640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dirty="0">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026349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dirty="0">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7541708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dirty="0">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1819325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dirty="0">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5890171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dirty="0">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8908668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0294791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9601471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659565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7819445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8895395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018730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3595927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94367410"/>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7582451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7735159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9595582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9004504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17289206"/>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634919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0154593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4906623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8360679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27567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6905737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8494267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3173929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9215644"/>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9874280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09931343"/>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912245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89911152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4153407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8529631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6881040"/>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82201325"/>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56277605"/>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06204540"/>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52117255"/>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4807680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8597283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91151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86545542"/>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5261588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05468820"/>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4088099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67940663"/>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3087344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06100342"/>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05355054"/>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07618805"/>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12370773"/>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506510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713514410"/>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3024905"/>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8761093"/>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63796430"/>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25665380"/>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96390047"/>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8776621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81673185"/>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09611139"/>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08583827"/>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622394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19190138"/>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6153824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98259059"/>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291363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3501876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1005755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40632342"/>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456926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88258951"/>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32356671"/>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23765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076055064"/>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2054983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83682181"/>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6727740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65973442"/>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02906345"/>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61044317"/>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4171711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10883018"/>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67256614"/>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834292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8962415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239592488"/>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74345866"/>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03346697"/>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77626751"/>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4141625"/>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7986246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65799431"/>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21766504"/>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7</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176303394"/>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621271441"/>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9495196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28070958"/>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423482883"/>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1</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930973610"/>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460861280"/>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715425323"/>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0976992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9548362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242633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3131135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3502042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7911480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9914571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5060359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159122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621874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792212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834741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9236823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9329462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2290764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10182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318551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8793446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30526126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9617212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2426268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924796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56574630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89474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6746947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8406589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3518074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8184817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3433474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4992832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5368511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75584490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3959306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3531582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8021295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16504250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9224829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7853321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25835792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6969701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8341810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373674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83090397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70361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7212116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5550415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3178040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7158302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284675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1359310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9374137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1603035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505863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87940413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9808704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1517040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3190211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0879124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3358674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7209996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8680597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0867543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683992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979557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27581884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045825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6473857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291847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9106938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0233895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6433461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7613294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8000350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8740535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38055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9108655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9815543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8626719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1586627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2046185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455296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3779625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216031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a:t>Mix Matrix | Weight of Business (</a:t>
            </a:r>
            <a:r>
              <a:rPr lang="en-GB" err="1"/>
              <a:t>WoB</a:t>
            </a:r>
            <a:r>
              <a:rPr lang="en-GB"/>
              <a:t>) vs. Net Sales per kg (NS/kg) and Gross Margin (GM%) | Client | P12M</a:t>
            </a:r>
            <a:endParaRPr lang="en-CH"/>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14259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a:t>Mix Matrix | Weight of Business (</a:t>
            </a:r>
            <a:r>
              <a:rPr lang="en-GB" err="1"/>
              <a:t>WoB</a:t>
            </a:r>
            <a:r>
              <a:rPr lang="en-GB"/>
              <a:t>) vs. Net Sales per kg (NS/kg) and Gross Margin (GM%) | Client | P12M</a:t>
            </a:r>
            <a:endParaRPr lang="en-CH"/>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91626921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a:t>Mix Matrix | Weight of Business (</a:t>
            </a:r>
            <a:r>
              <a:rPr lang="en-GB" err="1"/>
              <a:t>WoB</a:t>
            </a:r>
            <a:r>
              <a:rPr lang="en-GB"/>
              <a:t>) vs. Net Sales per kg (NS/kg) and Gross Margin (GM%) | Client | P12M</a:t>
            </a:r>
            <a:endParaRPr lang="en-CH"/>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9057294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C113E98-7689-4749-B74E-87793737B60D}">
  <ds:schemaRefs>
    <ds:schemaRef ds:uri="http://schemas.microsoft.com/sharepoint/v3/contenttype/forms"/>
  </ds:schemaRefs>
</ds:datastoreItem>
</file>

<file path=customXml/itemProps2.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customXml/itemProps3.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01</TotalTime>
  <Words>66012</Words>
  <Application>Microsoft Office PowerPoint</Application>
  <PresentationFormat>On-screen Show (16:9)</PresentationFormat>
  <Paragraphs>24758</Paragraphs>
  <Slides>214</Slides>
  <Notes>13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14</vt:i4>
      </vt:variant>
    </vt:vector>
  </HeadingPairs>
  <TitlesOfParts>
    <vt:vector size="224"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Mix Matrix (Replace with So What)</vt:lpstr>
      <vt:lpstr>Mix Matrix (Replace with So What)</vt:lpstr>
      <vt:lpstr>Mix Matrix (Replace with So What)</vt:lpstr>
      <vt:lpstr>Mix Matrix (Replace with So What)</vt:lpstr>
      <vt:lpstr>Mix Matrix (Replace with So What)</vt:lpstr>
      <vt:lpstr>Mix Matrix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Salma ANANY</cp:lastModifiedBy>
  <cp:revision>54</cp:revision>
  <dcterms:created xsi:type="dcterms:W3CDTF">2024-07-05T15:31:56Z</dcterms:created>
  <dcterms:modified xsi:type="dcterms:W3CDTF">2025-08-25T20:4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